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1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4460" r:id="rId4"/>
    <p:sldMasterId id="2147484533" r:id="rId5"/>
    <p:sldMasterId id="2147484891" r:id="rId6"/>
    <p:sldMasterId id="2147484951" r:id="rId7"/>
    <p:sldMasterId id="2147484956" r:id="rId8"/>
    <p:sldMasterId id="2147484967" r:id="rId9"/>
    <p:sldMasterId id="2147484989" r:id="rId10"/>
    <p:sldMasterId id="2147485016" r:id="rId11"/>
    <p:sldMasterId id="2147483650" r:id="rId12"/>
    <p:sldMasterId id="2147483652" r:id="rId13"/>
    <p:sldMasterId id="2147485036" r:id="rId14"/>
    <p:sldMasterId id="2147485042" r:id="rId15"/>
    <p:sldMasterId id="2147485075" r:id="rId16"/>
    <p:sldMasterId id="2147485081" r:id="rId17"/>
  </p:sldMasterIdLst>
  <p:notesMasterIdLst>
    <p:notesMasterId r:id="rId38"/>
  </p:notesMasterIdLst>
  <p:handoutMasterIdLst>
    <p:handoutMasterId r:id="rId39"/>
  </p:handoutMasterIdLst>
  <p:sldIdLst>
    <p:sldId id="6050" r:id="rId18"/>
    <p:sldId id="4909" r:id="rId19"/>
    <p:sldId id="2147376146" r:id="rId20"/>
    <p:sldId id="2147376166" r:id="rId21"/>
    <p:sldId id="2147376168" r:id="rId22"/>
    <p:sldId id="2147376171" r:id="rId23"/>
    <p:sldId id="2147376170" r:id="rId24"/>
    <p:sldId id="2147376169" r:id="rId25"/>
    <p:sldId id="2147376010" r:id="rId26"/>
    <p:sldId id="2147376167" r:id="rId27"/>
    <p:sldId id="268" r:id="rId28"/>
    <p:sldId id="269" r:id="rId29"/>
    <p:sldId id="270" r:id="rId30"/>
    <p:sldId id="271" r:id="rId31"/>
    <p:sldId id="272" r:id="rId32"/>
    <p:sldId id="274" r:id="rId33"/>
    <p:sldId id="275" r:id="rId34"/>
    <p:sldId id="261" r:id="rId35"/>
    <p:sldId id="2147376145" r:id="rId36"/>
    <p:sldId id="2147376011" r:id="rId37"/>
  </p:sldIdLst>
  <p:sldSz cx="13004800" cy="7315200"/>
  <p:notesSz cx="9388475" cy="7102475"/>
  <p:defaultTextStyle>
    <a:defPPr>
      <a:defRPr lang="en-US"/>
    </a:defPPr>
    <a:lvl1pPr marL="0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3176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6354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952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32708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1588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99063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8223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6541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79BF7FD-5784-43D2-9F78-9EAEC33213F6}">
          <p14:sldIdLst>
            <p14:sldId id="6050"/>
            <p14:sldId id="4909"/>
            <p14:sldId id="2147376146"/>
            <p14:sldId id="2147376166"/>
            <p14:sldId id="2147376168"/>
            <p14:sldId id="2147376171"/>
            <p14:sldId id="2147376170"/>
            <p14:sldId id="2147376169"/>
          </p14:sldIdLst>
        </p14:section>
        <p14:section name="Appendix" id="{F4D773BC-F2EE-4A3E-909D-8AB9E6E1CB80}">
          <p14:sldIdLst>
            <p14:sldId id="2147376010"/>
            <p14:sldId id="2147376167"/>
            <p14:sldId id="268"/>
            <p14:sldId id="269"/>
            <p14:sldId id="270"/>
            <p14:sldId id="271"/>
            <p14:sldId id="272"/>
            <p14:sldId id="274"/>
            <p14:sldId id="275"/>
            <p14:sldId id="261"/>
            <p14:sldId id="2147376145"/>
            <p14:sldId id="21473760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44" userDrawn="1">
          <p15:clr>
            <a:srgbClr val="A4A3A4"/>
          </p15:clr>
        </p15:guide>
        <p15:guide id="2" userDrawn="1">
          <p15:clr>
            <a:srgbClr val="A4A3A4"/>
          </p15:clr>
        </p15:guide>
        <p15:guide id="3" orient="horz" pos="4566" userDrawn="1">
          <p15:clr>
            <a:srgbClr val="A4A3A4"/>
          </p15:clr>
        </p15:guide>
        <p15:guide id="4" pos="616" userDrawn="1">
          <p15:clr>
            <a:srgbClr val="A4A3A4"/>
          </p15:clr>
        </p15:guide>
        <p15:guide id="5" pos="7792" userDrawn="1">
          <p15:clr>
            <a:srgbClr val="A4A3A4"/>
          </p15:clr>
        </p15:guide>
        <p15:guide id="6" pos="3377" userDrawn="1">
          <p15:clr>
            <a:srgbClr val="A4A3A4"/>
          </p15:clr>
        </p15:guide>
        <p15:guide id="7" orient="horz" pos="3528" userDrawn="1">
          <p15:clr>
            <a:srgbClr val="A4A3A4"/>
          </p15:clr>
        </p15:guide>
        <p15:guide id="8" pos="57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0" name="Author" initials="A" lastIdx="2541" clrIdx="2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AE53"/>
    <a:srgbClr val="000000"/>
    <a:srgbClr val="D9D9D9"/>
    <a:srgbClr val="E3C88D"/>
    <a:srgbClr val="31006F"/>
    <a:srgbClr val="E8D2A0"/>
    <a:srgbClr val="00B050"/>
    <a:srgbClr val="C5EDD8"/>
    <a:srgbClr val="F1E7FF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5A7FDA-A164-4014-A8F2-7E8AA9F59B19}" v="17" dt="2024-05-28T16:25:19.197"/>
    <p1510:client id="{9E97014A-D57A-4A02-A213-99D36C3C8BB7}" v="1463" dt="2024-05-28T16:48:29.749"/>
    <p1510:client id="{F3396FE8-E320-4B95-8CBE-7B1CE08996DE}" v="367" dt="2024-05-28T15:59:30.2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89744" autoAdjust="0"/>
  </p:normalViewPr>
  <p:slideViewPr>
    <p:cSldViewPr snapToGrid="0">
      <p:cViewPr varScale="1">
        <p:scale>
          <a:sx n="105" d="100"/>
          <a:sy n="105" d="100"/>
        </p:scale>
        <p:origin x="926" y="62"/>
      </p:cViewPr>
      <p:guideLst>
        <p:guide orient="horz" pos="2544"/>
        <p:guide/>
        <p:guide orient="horz" pos="4566"/>
        <p:guide pos="616"/>
        <p:guide pos="7792"/>
        <p:guide pos="3377"/>
        <p:guide orient="horz" pos="3528"/>
        <p:guide pos="5789"/>
      </p:guideLst>
    </p:cSldViewPr>
  </p:slideViewPr>
  <p:outlineViewPr>
    <p:cViewPr>
      <p:scale>
        <a:sx n="33" d="100"/>
        <a:sy n="33" d="100"/>
      </p:scale>
      <p:origin x="0" y="-3701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240" y="3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notesMaster" Target="notesMasters/notesMaster1.xml"/><Relationship Id="rId46" Type="http://schemas.microsoft.com/office/2018/10/relationships/authors" Target="authors.xml"/><Relationship Id="rId20" Type="http://schemas.openxmlformats.org/officeDocument/2006/relationships/slide" Target="slides/slide3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685F0F4D-3143-F54F-90D7-A2ABC584E48E}" type="datetimeFigureOut">
              <a:rPr lang="en-US" smtClean="0"/>
              <a:t>5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7F49EE16-A310-AE4D-9E91-6A244C3B01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925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F133C62B-1BF1-F54A-8DA9-002D51A9B8EA}" type="datetimeFigureOut">
              <a:rPr lang="en-US" smtClean="0"/>
              <a:t>5/2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8863" y="533400"/>
            <a:ext cx="4730750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06" tIns="46702" rIns="93406" bIns="4670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9" y="3373677"/>
            <a:ext cx="7510780" cy="3196114"/>
          </a:xfrm>
          <a:prstGeom prst="rect">
            <a:avLst/>
          </a:prstGeom>
        </p:spPr>
        <p:txBody>
          <a:bodyPr vert="horz" lIns="93406" tIns="46702" rIns="93406" bIns="467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21F0486C-94EE-7249-8AC8-76A196C667C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950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5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33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1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8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6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44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2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7284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/>
              <a:t>Until recently, there were downstream impacts with changing the related </a:t>
            </a:r>
            <a:r>
              <a:rPr lang="en-US" err="1"/>
              <a:t>worktags</a:t>
            </a:r>
            <a:r>
              <a:rPr lang="en-US"/>
              <a:t> -- Cost Center, Program, Assignee, etc. – on Grant Driver </a:t>
            </a:r>
            <a:r>
              <a:rPr lang="en-US" err="1"/>
              <a:t>worktags</a:t>
            </a:r>
            <a:r>
              <a:rPr lang="en-US"/>
              <a:t>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If any related </a:t>
            </a:r>
            <a:r>
              <a:rPr lang="en-US" err="1"/>
              <a:t>worktags</a:t>
            </a:r>
            <a:r>
              <a:rPr lang="en-US"/>
              <a:t> were changed on a Grant Driver </a:t>
            </a:r>
            <a:r>
              <a:rPr lang="en-US" err="1"/>
              <a:t>worktag</a:t>
            </a:r>
            <a:r>
              <a:rPr lang="en-US"/>
              <a:t>, it would cause a critical error to show up for in-flight Purchase Orders (POs) and Supplier Invoices (SIs) and not allow those SIs to get paid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re was a cumbersome workaround for Procurement Services to clear out these errors, but a better solution was needed. 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error occurred because of custom validations and core Workday functionality that looks for the original </a:t>
            </a:r>
            <a:r>
              <a:rPr lang="en-US" err="1"/>
              <a:t>worktags</a:t>
            </a:r>
            <a:r>
              <a:rPr lang="en-US"/>
              <a:t> on the PO and SI to align with the current related </a:t>
            </a:r>
            <a:r>
              <a:rPr lang="en-US" err="1"/>
              <a:t>worktags</a:t>
            </a:r>
            <a:r>
              <a:rPr lang="en-US"/>
              <a:t> on the Driver Grant </a:t>
            </a:r>
            <a:r>
              <a:rPr lang="en-US" err="1"/>
              <a:t>worktag</a:t>
            </a:r>
            <a:r>
              <a:rPr lang="en-US"/>
              <a:t>. When these are different – the system blocks the transaction from moving forward.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A cross-cutting team was stood up to address the issue and, in the end, the custom validation was relaxed to </a:t>
            </a:r>
            <a:r>
              <a:rPr lang="en-US" u="sng"/>
              <a:t>only</a:t>
            </a:r>
            <a:r>
              <a:rPr lang="en-US"/>
              <a:t> stop a mismatch of fund, function, and resource related </a:t>
            </a:r>
            <a:r>
              <a:rPr lang="en-US" err="1"/>
              <a:t>worktags</a:t>
            </a:r>
            <a:r>
              <a:rPr lang="en-US"/>
              <a:t> on the Grant Driver </a:t>
            </a:r>
            <a:r>
              <a:rPr lang="en-US" err="1"/>
              <a:t>worktag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38F130-3015-4292-83CC-93E72ACC7CC7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89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/>
              <a:t>Until recently, there were downstream impacts with changing the related </a:t>
            </a:r>
            <a:r>
              <a:rPr lang="en-US" err="1"/>
              <a:t>worktags</a:t>
            </a:r>
            <a:r>
              <a:rPr lang="en-US"/>
              <a:t> -- Cost Center, Program, Assignee, etc. – on Grant Driver </a:t>
            </a:r>
            <a:r>
              <a:rPr lang="en-US" err="1"/>
              <a:t>worktags</a:t>
            </a:r>
            <a:r>
              <a:rPr lang="en-US"/>
              <a:t>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If any related </a:t>
            </a:r>
            <a:r>
              <a:rPr lang="en-US" err="1"/>
              <a:t>worktags</a:t>
            </a:r>
            <a:r>
              <a:rPr lang="en-US"/>
              <a:t> were changed on a Grant Driver </a:t>
            </a:r>
            <a:r>
              <a:rPr lang="en-US" err="1"/>
              <a:t>worktag</a:t>
            </a:r>
            <a:r>
              <a:rPr lang="en-US"/>
              <a:t>, it would cause a critical error to show up for in-flight Purchase Orders (POs) and Supplier Invoices (SIs) and not allow those SIs to get paid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re was a cumbersome workaround for Procurement Services to clear out these errors, but a better solution was needed. 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error occurred because of custom validations and core Workday functionality that looks for the original </a:t>
            </a:r>
            <a:r>
              <a:rPr lang="en-US" err="1"/>
              <a:t>worktags</a:t>
            </a:r>
            <a:r>
              <a:rPr lang="en-US"/>
              <a:t> on the PO and SI to align with the current related </a:t>
            </a:r>
            <a:r>
              <a:rPr lang="en-US" err="1"/>
              <a:t>worktags</a:t>
            </a:r>
            <a:r>
              <a:rPr lang="en-US"/>
              <a:t> on the Driver Grant </a:t>
            </a:r>
            <a:r>
              <a:rPr lang="en-US" err="1"/>
              <a:t>worktag</a:t>
            </a:r>
            <a:r>
              <a:rPr lang="en-US"/>
              <a:t>. When these are different – the system blocks the transaction from moving forward.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A cross-cutting team was stood up to address the issue and, in the end, the custom validation was relaxed to </a:t>
            </a:r>
            <a:r>
              <a:rPr lang="en-US" u="sng"/>
              <a:t>only</a:t>
            </a:r>
            <a:r>
              <a:rPr lang="en-US"/>
              <a:t> stop a mismatch of fund, function, and resource related </a:t>
            </a:r>
            <a:r>
              <a:rPr lang="en-US" err="1"/>
              <a:t>worktags</a:t>
            </a:r>
            <a:r>
              <a:rPr lang="en-US"/>
              <a:t> on the Grant Driver </a:t>
            </a:r>
            <a:r>
              <a:rPr lang="en-US" err="1"/>
              <a:t>worktag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38F130-3015-4292-83CC-93E72ACC7CC7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2656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/>
              <a:t>Until recently, there were downstream impacts with changing the related </a:t>
            </a:r>
            <a:r>
              <a:rPr lang="en-US" err="1"/>
              <a:t>worktags</a:t>
            </a:r>
            <a:r>
              <a:rPr lang="en-US"/>
              <a:t> -- Cost Center, Program, Assignee, etc. – on Grant Driver </a:t>
            </a:r>
            <a:r>
              <a:rPr lang="en-US" err="1"/>
              <a:t>worktags</a:t>
            </a:r>
            <a:r>
              <a:rPr lang="en-US"/>
              <a:t>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If any related </a:t>
            </a:r>
            <a:r>
              <a:rPr lang="en-US" err="1"/>
              <a:t>worktags</a:t>
            </a:r>
            <a:r>
              <a:rPr lang="en-US"/>
              <a:t> were changed on a Grant Driver </a:t>
            </a:r>
            <a:r>
              <a:rPr lang="en-US" err="1"/>
              <a:t>worktag</a:t>
            </a:r>
            <a:r>
              <a:rPr lang="en-US"/>
              <a:t>, it would cause a critical error to show up for in-flight Purchase Orders (POs) and Supplier Invoices (SIs) and not allow those SIs to get paid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re was a cumbersome workaround for Procurement Services to clear out these errors, but a better solution was needed. 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error occurred because of custom validations and core Workday functionality that looks for the original </a:t>
            </a:r>
            <a:r>
              <a:rPr lang="en-US" err="1"/>
              <a:t>worktags</a:t>
            </a:r>
            <a:r>
              <a:rPr lang="en-US"/>
              <a:t> on the PO and SI to align with the current related </a:t>
            </a:r>
            <a:r>
              <a:rPr lang="en-US" err="1"/>
              <a:t>worktags</a:t>
            </a:r>
            <a:r>
              <a:rPr lang="en-US"/>
              <a:t> on the Driver Grant </a:t>
            </a:r>
            <a:r>
              <a:rPr lang="en-US" err="1"/>
              <a:t>worktag</a:t>
            </a:r>
            <a:r>
              <a:rPr lang="en-US"/>
              <a:t>. When these are different – the system blocks the transaction from moving forward.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A cross-cutting team was stood up to address the issue and, in the end, the custom validation was relaxed to </a:t>
            </a:r>
            <a:r>
              <a:rPr lang="en-US" u="sng"/>
              <a:t>only</a:t>
            </a:r>
            <a:r>
              <a:rPr lang="en-US"/>
              <a:t> stop a mismatch of fund, function, and resource related </a:t>
            </a:r>
            <a:r>
              <a:rPr lang="en-US" err="1"/>
              <a:t>worktags</a:t>
            </a:r>
            <a:r>
              <a:rPr lang="en-US"/>
              <a:t> on the Grant Driver </a:t>
            </a:r>
            <a:r>
              <a:rPr lang="en-US" err="1"/>
              <a:t>worktag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38F130-3015-4292-83CC-93E72ACC7CC7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1496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/>
              <a:t>Until recently, there were downstream impacts with changing the related </a:t>
            </a:r>
            <a:r>
              <a:rPr lang="en-US" err="1"/>
              <a:t>worktags</a:t>
            </a:r>
            <a:r>
              <a:rPr lang="en-US"/>
              <a:t> -- Cost Center, Program, Assignee, etc. – on Grant Driver </a:t>
            </a:r>
            <a:r>
              <a:rPr lang="en-US" err="1"/>
              <a:t>worktags</a:t>
            </a:r>
            <a:r>
              <a:rPr lang="en-US"/>
              <a:t>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If any related </a:t>
            </a:r>
            <a:r>
              <a:rPr lang="en-US" err="1"/>
              <a:t>worktags</a:t>
            </a:r>
            <a:r>
              <a:rPr lang="en-US"/>
              <a:t> were changed on a Grant Driver </a:t>
            </a:r>
            <a:r>
              <a:rPr lang="en-US" err="1"/>
              <a:t>worktag</a:t>
            </a:r>
            <a:r>
              <a:rPr lang="en-US"/>
              <a:t>, it would cause a critical error to show up for in-flight Purchase Orders (POs) and Supplier Invoices (SIs) and not allow those SIs to get paid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re was a cumbersome workaround for Procurement Services to clear out these errors, but a better solution was needed. 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error occurred because of custom validations and core Workday functionality that looks for the original </a:t>
            </a:r>
            <a:r>
              <a:rPr lang="en-US" err="1"/>
              <a:t>worktags</a:t>
            </a:r>
            <a:r>
              <a:rPr lang="en-US"/>
              <a:t> on the PO and SI to align with the current related </a:t>
            </a:r>
            <a:r>
              <a:rPr lang="en-US" err="1"/>
              <a:t>worktags</a:t>
            </a:r>
            <a:r>
              <a:rPr lang="en-US"/>
              <a:t> on the Driver Grant </a:t>
            </a:r>
            <a:r>
              <a:rPr lang="en-US" err="1"/>
              <a:t>worktag</a:t>
            </a:r>
            <a:r>
              <a:rPr lang="en-US"/>
              <a:t>. When these are different – the system blocks the transaction from moving forward.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A cross-cutting team was stood up to address the issue and, in the end, the custom validation was relaxed to </a:t>
            </a:r>
            <a:r>
              <a:rPr lang="en-US" u="sng"/>
              <a:t>only</a:t>
            </a:r>
            <a:r>
              <a:rPr lang="en-US"/>
              <a:t> stop a mismatch of fund, function, and resource related </a:t>
            </a:r>
            <a:r>
              <a:rPr lang="en-US" err="1"/>
              <a:t>worktags</a:t>
            </a:r>
            <a:r>
              <a:rPr lang="en-US"/>
              <a:t> on the Grant Driver </a:t>
            </a:r>
            <a:r>
              <a:rPr lang="en-US" err="1"/>
              <a:t>worktag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38F130-3015-4292-83CC-93E72ACC7CC7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9628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/>
              <a:t>Until recently, there were downstream impacts with changing the related </a:t>
            </a:r>
            <a:r>
              <a:rPr lang="en-US" err="1"/>
              <a:t>worktags</a:t>
            </a:r>
            <a:r>
              <a:rPr lang="en-US"/>
              <a:t> -- Cost Center, Program, Assignee, etc. – on Grant Driver </a:t>
            </a:r>
            <a:r>
              <a:rPr lang="en-US" err="1"/>
              <a:t>worktags</a:t>
            </a:r>
            <a:r>
              <a:rPr lang="en-US"/>
              <a:t>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If any related </a:t>
            </a:r>
            <a:r>
              <a:rPr lang="en-US" err="1"/>
              <a:t>worktags</a:t>
            </a:r>
            <a:r>
              <a:rPr lang="en-US"/>
              <a:t> were changed on a Grant Driver </a:t>
            </a:r>
            <a:r>
              <a:rPr lang="en-US" err="1"/>
              <a:t>worktag</a:t>
            </a:r>
            <a:r>
              <a:rPr lang="en-US"/>
              <a:t>, it would cause a critical error to show up for in-flight Purchase Orders (POs) and Supplier Invoices (SIs) and not allow those SIs to get paid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re was a cumbersome workaround for Procurement Services to clear out these errors, but a better solution was needed. 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error occurred because of custom validations and core Workday functionality that looks for the original </a:t>
            </a:r>
            <a:r>
              <a:rPr lang="en-US" err="1"/>
              <a:t>worktags</a:t>
            </a:r>
            <a:r>
              <a:rPr lang="en-US"/>
              <a:t> on the PO and SI to align with the current related </a:t>
            </a:r>
            <a:r>
              <a:rPr lang="en-US" err="1"/>
              <a:t>worktags</a:t>
            </a:r>
            <a:r>
              <a:rPr lang="en-US"/>
              <a:t> on the Driver Grant </a:t>
            </a:r>
            <a:r>
              <a:rPr lang="en-US" err="1"/>
              <a:t>worktag</a:t>
            </a:r>
            <a:r>
              <a:rPr lang="en-US"/>
              <a:t>. When these are different – the system blocks the transaction from moving forward.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A cross-cutting team was stood up to address the issue and, in the end, the custom validation was relaxed to </a:t>
            </a:r>
            <a:r>
              <a:rPr lang="en-US" u="sng"/>
              <a:t>only</a:t>
            </a:r>
            <a:r>
              <a:rPr lang="en-US"/>
              <a:t> stop a mismatch of fund, function, and resource related </a:t>
            </a:r>
            <a:r>
              <a:rPr lang="en-US" err="1"/>
              <a:t>worktags</a:t>
            </a:r>
            <a:r>
              <a:rPr lang="en-US"/>
              <a:t> on the Grant Driver </a:t>
            </a:r>
            <a:r>
              <a:rPr lang="en-US" err="1"/>
              <a:t>worktag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38F130-3015-4292-83CC-93E72ACC7CC7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66455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/>
              <a:t>Until recently, there were downstream impacts with changing the related </a:t>
            </a:r>
            <a:r>
              <a:rPr lang="en-US" err="1"/>
              <a:t>worktags</a:t>
            </a:r>
            <a:r>
              <a:rPr lang="en-US"/>
              <a:t> -- Cost Center, Program, Assignee, etc. – on Grant Driver </a:t>
            </a:r>
            <a:r>
              <a:rPr lang="en-US" err="1"/>
              <a:t>worktags</a:t>
            </a:r>
            <a:r>
              <a:rPr lang="en-US"/>
              <a:t>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If any related </a:t>
            </a:r>
            <a:r>
              <a:rPr lang="en-US" err="1"/>
              <a:t>worktags</a:t>
            </a:r>
            <a:r>
              <a:rPr lang="en-US"/>
              <a:t> were changed on a Grant Driver </a:t>
            </a:r>
            <a:r>
              <a:rPr lang="en-US" err="1"/>
              <a:t>worktag</a:t>
            </a:r>
            <a:r>
              <a:rPr lang="en-US"/>
              <a:t>, it would cause a critical error to show up for in-flight Purchase Orders (POs) and Supplier Invoices (SIs) and not allow those SIs to get paid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re was a cumbersome workaround for Procurement Services to clear out these errors, but a better solution was needed. 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error occurred because of custom validations and core Workday functionality that looks for the original </a:t>
            </a:r>
            <a:r>
              <a:rPr lang="en-US" err="1"/>
              <a:t>worktags</a:t>
            </a:r>
            <a:r>
              <a:rPr lang="en-US"/>
              <a:t> on the PO and SI to align with the current related </a:t>
            </a:r>
            <a:r>
              <a:rPr lang="en-US" err="1"/>
              <a:t>worktags</a:t>
            </a:r>
            <a:r>
              <a:rPr lang="en-US"/>
              <a:t> on the Driver Grant </a:t>
            </a:r>
            <a:r>
              <a:rPr lang="en-US" err="1"/>
              <a:t>worktag</a:t>
            </a:r>
            <a:r>
              <a:rPr lang="en-US"/>
              <a:t>. When these are different – the system blocks the transaction from moving forward.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A cross-cutting team was stood up to address the issue and, in the end, the custom validation was relaxed to </a:t>
            </a:r>
            <a:r>
              <a:rPr lang="en-US" u="sng"/>
              <a:t>only</a:t>
            </a:r>
            <a:r>
              <a:rPr lang="en-US"/>
              <a:t> stop a mismatch of fund, function, and resource related </a:t>
            </a:r>
            <a:r>
              <a:rPr lang="en-US" err="1"/>
              <a:t>worktags</a:t>
            </a:r>
            <a:r>
              <a:rPr lang="en-US"/>
              <a:t> on the Grant Driver </a:t>
            </a:r>
            <a:r>
              <a:rPr lang="en-US" err="1"/>
              <a:t>worktag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38F130-3015-4292-83CC-93E72ACC7CC7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54724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/>
              <a:t>Until recently, there were downstream impacts with changing the related </a:t>
            </a:r>
            <a:r>
              <a:rPr lang="en-US" err="1"/>
              <a:t>worktags</a:t>
            </a:r>
            <a:r>
              <a:rPr lang="en-US"/>
              <a:t> -- Cost Center, Program, Assignee, etc. – on Grant Driver </a:t>
            </a:r>
            <a:r>
              <a:rPr lang="en-US" err="1"/>
              <a:t>worktags</a:t>
            </a:r>
            <a:r>
              <a:rPr lang="en-US"/>
              <a:t>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If any related </a:t>
            </a:r>
            <a:r>
              <a:rPr lang="en-US" err="1"/>
              <a:t>worktags</a:t>
            </a:r>
            <a:r>
              <a:rPr lang="en-US"/>
              <a:t> were changed on a Grant Driver </a:t>
            </a:r>
            <a:r>
              <a:rPr lang="en-US" err="1"/>
              <a:t>worktag</a:t>
            </a:r>
            <a:r>
              <a:rPr lang="en-US"/>
              <a:t>, it would cause a critical error to show up for in-flight Purchase Orders (POs) and Supplier Invoices (SIs) and not allow those SIs to get paid. 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re was a cumbersome workaround for Procurement Services to clear out these errors, but a better solution was needed. 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error occurred because of custom validations and core Workday functionality that looks for the original </a:t>
            </a:r>
            <a:r>
              <a:rPr lang="en-US" err="1"/>
              <a:t>worktags</a:t>
            </a:r>
            <a:r>
              <a:rPr lang="en-US"/>
              <a:t> on the PO and SI to align with the current related </a:t>
            </a:r>
            <a:r>
              <a:rPr lang="en-US" err="1"/>
              <a:t>worktags</a:t>
            </a:r>
            <a:r>
              <a:rPr lang="en-US"/>
              <a:t> on the Driver Grant </a:t>
            </a:r>
            <a:r>
              <a:rPr lang="en-US" err="1"/>
              <a:t>worktag</a:t>
            </a:r>
            <a:r>
              <a:rPr lang="en-US"/>
              <a:t>. When these are different – the system blocks the transaction from moving forward.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A cross-cutting team was stood up to address the issue and, in the end, the custom validation was relaxed to </a:t>
            </a:r>
            <a:r>
              <a:rPr lang="en-US" u="sng"/>
              <a:t>only</a:t>
            </a:r>
            <a:r>
              <a:rPr lang="en-US"/>
              <a:t> stop a mismatch of fund, function, and resource related </a:t>
            </a:r>
            <a:r>
              <a:rPr lang="en-US" err="1"/>
              <a:t>worktags</a:t>
            </a:r>
            <a:r>
              <a:rPr lang="en-US"/>
              <a:t> on the Grant Driver </a:t>
            </a:r>
            <a:r>
              <a:rPr lang="en-US" err="1"/>
              <a:t>worktag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38F130-3015-4292-83CC-93E72ACC7CC7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5613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214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Question: How to handle excess revenue from fee-based programs. . .past history was that continuum college would place excess in a resource as designated by the academic unit - I've heard that the process has or will change in that we need to keep excess revenue in RS100369 vs transferring to a traditional revenue resource RS100081?  Please advise as this is a huge change in our business practices and impacts our close.</a:t>
            </a:r>
            <a:br>
              <a:rPr lang="en-US" dirty="0">
                <a:effectLst/>
                <a:latin typeface="Segoe UI" panose="020B0502040204020203" pitchFamily="34" charset="0"/>
              </a:rPr>
            </a:br>
            <a:endParaRPr lang="en-US" dirty="0">
              <a:effectLst/>
              <a:latin typeface="Segoe UI" panose="020B0502040204020203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Bryan Hall to work with Dawn Bostrom and Erick Winger to discuss this at the next Accounting Forum on May 28th [and bring the answer back to the SES meeting on May 29th]</a:t>
            </a:r>
            <a:br>
              <a:rPr lang="en-US" dirty="0">
                <a:effectLst/>
                <a:latin typeface="Segoe UI" panose="020B0502040204020203" pitchFamily="34" charset="0"/>
              </a:rPr>
            </a:br>
            <a:endParaRPr lang="en-US" dirty="0">
              <a:effectLst/>
              <a:latin typeface="Segoe UI" panose="020B0502040204020203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Scott said, at least to the </a:t>
            </a:r>
            <a:r>
              <a:rPr lang="en-US" dirty="0" err="1">
                <a:effectLst/>
                <a:latin typeface="Segoe UI" panose="020B0502040204020203" pitchFamily="34" charset="0"/>
              </a:rPr>
              <a:t>iSchool</a:t>
            </a:r>
            <a:r>
              <a:rPr lang="en-US">
                <a:effectLst/>
                <a:latin typeface="Segoe UI" panose="020B0502040204020203" pitchFamily="34" charset="0"/>
              </a:rPr>
              <a:t>, that transferring revenue across different resource codes(RS100369 to RS100081) is not allow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874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55909-1D12-530A-A091-229715FFE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6F7E73-B0F3-0EBA-F7D0-9C4CBB2D0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E9D798-91AA-7BC9-6D6A-39B7C670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E10D05-750A-3DFB-E012-D4ED9333F6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315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55909-1D12-530A-A091-229715FFE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6F7E73-B0F3-0EBA-F7D0-9C4CBB2D0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E9D798-91AA-7BC9-6D6A-39B7C670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E10D05-750A-3DFB-E012-D4ED9333F6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3615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55909-1D12-530A-A091-229715FFE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6F7E73-B0F3-0EBA-F7D0-9C4CBB2D0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E9D798-91AA-7BC9-6D6A-39B7C670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E10D05-750A-3DFB-E012-D4ED9333F6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210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55909-1D12-530A-A091-229715FFE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6F7E73-B0F3-0EBA-F7D0-9C4CBB2D0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E9D798-91AA-7BC9-6D6A-39B7C670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E10D05-750A-3DFB-E012-D4ED9333F6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89640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55909-1D12-530A-A091-229715FFE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6F7E73-B0F3-0EBA-F7D0-9C4CBB2D0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28863" y="533400"/>
            <a:ext cx="4730750" cy="2662238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E9D798-91AA-7BC9-6D6A-39B7C670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E10D05-750A-3DFB-E012-D4ED9333F6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96998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56700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38F130-3015-4292-83CC-93E72ACC7CC7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547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4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pn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967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1323623"/>
            <a:ext cx="11658117" cy="5048729"/>
          </a:xfrm>
          <a:prstGeom prst="rect">
            <a:avLst/>
          </a:prstGeom>
        </p:spPr>
        <p:txBody>
          <a:bodyPr anchor="ctr"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2290F2C-BE27-4FCA-A660-C90CC0BA8F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05004" y="6720870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5898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640410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8" y="1846046"/>
            <a:ext cx="11640408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2474921"/>
            <a:ext cx="11658118" cy="4064092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4" y="6919954"/>
            <a:ext cx="3449308" cy="17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726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639124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852507"/>
            <a:ext cx="11656832" cy="4283197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909" y="6346037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204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543671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7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rgbClr val="999999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9750" y="6919954"/>
            <a:ext cx="3449308" cy="17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55248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8" y="6540241"/>
            <a:ext cx="3436477" cy="303625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53579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dirty="0"/>
              <a:t>TITLE HERE </a:t>
            </a:r>
            <a:br>
              <a:rPr lang="en-US" dirty="0"/>
            </a:br>
            <a:r>
              <a:rPr lang="en-US" dirty="0"/>
              <a:t>ENCODE NORMAL BLACK, 50 PT.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8" name="Picture 7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38" y="6649643"/>
            <a:ext cx="3612444" cy="245065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082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8370"/>
            <a:ext cx="1165811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1" name="Picture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 REGULAR, 24 PT.)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9" name="Picture 1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0" y="6649643"/>
            <a:ext cx="3612444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106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843"/>
            <a:ext cx="1165811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2461394"/>
            <a:ext cx="11658118" cy="3364837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10445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527108"/>
            <a:ext cx="1164040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6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6" y="2453301"/>
            <a:ext cx="11640408" cy="40222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16" name="Picture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0" y="6649643"/>
            <a:ext cx="3612444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0687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783782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9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36" indent="-36573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20" indent="-243825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16" indent="-243825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32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7" y="1939213"/>
            <a:ext cx="11640409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49" y="6738118"/>
            <a:ext cx="2335316" cy="3036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26DC03-5128-4F80-81CD-8AA579A24B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29897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9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36" indent="-36573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20" indent="-243825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16" indent="-243825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141319464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5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46" indent="-36574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1" indent="-243831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70" indent="-243831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1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2865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5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46" indent="-36574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1" indent="-243831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70" indent="-243831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36641450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104419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1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32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301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05432765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98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94987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1220315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EF4F52D-E178-42C6-9597-FF75E0336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4B26974-13BB-4B72-B68E-094B650A0D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3A4C5D-08C6-4F99-B6B4-63E7B91AB3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2D7105C-074D-4774-999B-8E6677BD9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047" y="528372"/>
            <a:ext cx="11658117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53D3DDB7-D1F0-46A9-9D4F-CAAF6C509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7404" y="6681966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69018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6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5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535293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87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1576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23100050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69525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5658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4961551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8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4" y="300978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EDCDF131-7513-40D8-96A4-52EDD98C0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39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27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373667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2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4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87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4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5"/>
            <a:ext cx="11658118" cy="3202505"/>
          </a:xfrm>
          <a:prstGeom prst="rect">
            <a:avLst/>
          </a:prstGeom>
        </p:spPr>
        <p:txBody>
          <a:bodyPr/>
          <a:lstStyle>
            <a:lvl1pPr marL="365719" indent="-365719">
              <a:buFont typeface="Lucida Grande"/>
              <a:buChar char="&gt;"/>
              <a:defRPr sz="213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060" indent="-243812">
              <a:buSzPct val="100000"/>
              <a:buFont typeface="Lucida Grande"/>
              <a:buChar char="&gt;"/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302" indent="-243812">
              <a:buFont typeface="Lucida Grande"/>
              <a:buChar char="&gt;"/>
              <a:defRPr sz="128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0 pt.)</a:t>
            </a:r>
          </a:p>
          <a:p>
            <a:pPr lvl="1"/>
            <a:r>
              <a:rPr lang="en-US"/>
              <a:t>Second level (Open Sans, 18)</a:t>
            </a:r>
          </a:p>
          <a:p>
            <a:pPr lvl="2"/>
            <a:r>
              <a:rPr lang="en-US"/>
              <a:t>Third level (Open Sans, 16)</a:t>
            </a:r>
          </a:p>
          <a:p>
            <a:pPr lvl="3"/>
            <a:r>
              <a:rPr lang="en-US"/>
              <a:t>Fourth level (Open Sans, 14)</a:t>
            </a:r>
          </a:p>
          <a:p>
            <a:pPr lvl="4"/>
            <a:r>
              <a:rPr lang="en-US"/>
              <a:t>Fifth level (Open Sans, 12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26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and Conten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0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320612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892554"/>
            <a:ext cx="1177366" cy="1027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B02F48-3E6F-4547-AF06-A81D40B639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1" y="6586003"/>
            <a:ext cx="3381247" cy="442406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C8692A-3266-4835-A694-F786994C32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084392"/>
            <a:ext cx="11481381" cy="5336306"/>
          </a:xfrm>
          <a:prstGeom prst="rect">
            <a:avLst/>
          </a:prstGeom>
        </p:spPr>
        <p:txBody>
          <a:bodyPr/>
          <a:lstStyle>
            <a:lvl1pPr marL="365774" indent="-36577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46" indent="-243850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44" indent="-243850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24138478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04" y="1704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4" y="1704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41" y="396284"/>
            <a:ext cx="11640410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1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4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47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2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274304" indent="-274304"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48" indent="-182871">
              <a:buSzPct val="100000"/>
              <a:buFont typeface="Lucida Grande"/>
              <a:buChar char="&gt;"/>
              <a:defRPr sz="144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8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645827" indent="-182871">
              <a:buFont typeface="Lucida Grande"/>
              <a:buChar char="&gt;"/>
              <a:defRPr sz="112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6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67" y="910019"/>
            <a:ext cx="1569823" cy="102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FE8817-C42B-4281-9674-BA43D9D4ED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223" y="6722973"/>
            <a:ext cx="3606663" cy="4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7568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562931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264" y="1237659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8192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12" y="4273162"/>
            <a:ext cx="3248786" cy="12028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4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6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03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_Content Slide 3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008228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3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7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13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090" indent="-243818">
              <a:buSzPct val="100000"/>
              <a:buFont typeface="Lucida Grande"/>
              <a:buChar char="&gt;"/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358" indent="-243818">
              <a:buFont typeface="Lucida Grande"/>
              <a:buChar char="&gt;"/>
              <a:defRPr sz="128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0 pt.)</a:t>
            </a:r>
          </a:p>
          <a:p>
            <a:pPr lvl="1"/>
            <a:r>
              <a:rPr lang="en-US"/>
              <a:t>Second level (Open Sans, 18)</a:t>
            </a:r>
          </a:p>
          <a:p>
            <a:pPr lvl="2"/>
            <a:r>
              <a:rPr lang="en-US"/>
              <a:t>Third level (Open Sans, 16)</a:t>
            </a:r>
          </a:p>
          <a:p>
            <a:pPr lvl="3"/>
            <a:r>
              <a:rPr lang="en-US"/>
              <a:t>Fourth level (Open Sans, 14)</a:t>
            </a:r>
          </a:p>
          <a:p>
            <a:pPr lvl="4"/>
            <a:r>
              <a:rPr lang="en-US"/>
              <a:t>Fifth level (Open Sans, 12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676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439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04" y="1704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4" y="1704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41" y="396283"/>
            <a:ext cx="11640410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1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4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49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24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274311" indent="-274311"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71" indent="-182875">
              <a:buSzPct val="100000"/>
              <a:buFont typeface="Lucida Grande"/>
              <a:buChar char="&gt;"/>
              <a:defRPr sz="144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8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645868" indent="-182875">
              <a:buFont typeface="Lucida Grande"/>
              <a:buChar char="&gt;"/>
              <a:defRPr sz="112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5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67" y="910019"/>
            <a:ext cx="1569823" cy="102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FE8817-C42B-4281-9674-BA43D9D4ED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221" y="6722972"/>
            <a:ext cx="3606663" cy="4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15808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04B6E0-EED1-489D-A05E-A10EC427A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20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2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/>
        </p:nvSpPr>
        <p:spPr>
          <a:xfrm>
            <a:off x="261842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562931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264" y="1237659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4801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38" y="6540813"/>
            <a:ext cx="3449210" cy="303322"/>
          </a:xfrm>
          <a:prstGeom prst="rect">
            <a:avLst/>
          </a:prstGeom>
        </p:spPr>
      </p:pic>
      <p:pic>
        <p:nvPicPr>
          <p:cNvPr id="13" name="Picture 12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249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8FA5D6A6-37E1-E538-8539-6EF3C7979D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1945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7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13" name="Picture 12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44" y="6649643"/>
            <a:ext cx="3612432" cy="245065"/>
          </a:xfrm>
          <a:prstGeom prst="rect">
            <a:avLst/>
          </a:prstGeom>
        </p:spPr>
      </p:pic>
      <p:pic>
        <p:nvPicPr>
          <p:cNvPr id="6" name="Picture 5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40831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4786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527108"/>
            <a:ext cx="1164040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22" name="Picture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2461394"/>
            <a:ext cx="11658118" cy="3364837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328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525843"/>
            <a:ext cx="11622699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6" y="2453301"/>
            <a:ext cx="11640408" cy="4211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80077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38764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78F71BE9-DB46-44C0-935E-5B995B95F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4569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7" y="6922425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59" y="910016"/>
            <a:ext cx="1569822" cy="102786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7904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955388" y="2182463"/>
            <a:ext cx="9916159" cy="281787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1067"/>
              </a:spcBef>
              <a:buClr>
                <a:schemeClr val="dk1"/>
              </a:buClr>
              <a:buFont typeface="Arial"/>
              <a:buNone/>
              <a:defRPr sz="5335" b="1" i="0" u="none" strike="noStrike" cap="none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Encode Sans Black"/>
              </a:defRPr>
            </a:lvl1pPr>
            <a:lvl2pPr marL="487710" marR="0" lvl="1" indent="0" algn="l" rtl="0">
              <a:spcBef>
                <a:spcPts val="597"/>
              </a:spcBef>
              <a:buClr>
                <a:srgbClr val="E8D3A2"/>
              </a:buClr>
              <a:buFont typeface="Arial"/>
              <a:buChar char="○"/>
              <a:defRPr sz="2987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975420" marR="0" lvl="2" indent="0" algn="l" rtl="0">
              <a:spcBef>
                <a:spcPts val="512"/>
              </a:spcBef>
              <a:buClr>
                <a:srgbClr val="E8D3A2"/>
              </a:buClr>
              <a:buFont typeface="Arial"/>
              <a:buChar char="■"/>
              <a:defRPr sz="256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1463132" marR="0" lvl="3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●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950842" marR="0" lvl="4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○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2682408" marR="0" lvl="5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70118" marR="0" lvl="6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828" marR="0" lvl="7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45540" marR="0" lvl="8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9" name="Shape 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08570" y="5000339"/>
            <a:ext cx="2275839" cy="1490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2D440B6F-09BA-43C6-832A-57F4362E0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00080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00E6950-6D26-4962-AB43-36CB8D6AF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66541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D059199-1963-420E-8D6C-6D1537FA6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32001-8C2F-4802-B20A-1EFB92B96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397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4AFFC6B-C2F5-4BDF-BE88-447AA75179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59F770B-1AFA-44FC-9DD4-5D8A00EEA36A}"/>
              </a:ext>
            </a:extLst>
          </p:cNvPr>
          <p:cNvSpPr/>
          <p:nvPr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A1625C45-CF9F-63CE-E171-708DA9CA0C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696" y="6123184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51323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AE2EC6D8-DAC9-45D3-A4B8-1A4CE5BD2D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7943F8-2FA9-4CB9-962D-3A78D199D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804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5" name="Picture 4" descr="W logo">
            <a:extLst>
              <a:ext uri="{FF2B5EF4-FFF2-40B4-BE49-F238E27FC236}">
                <a16:creationId xmlns:a16="http://schemas.microsoft.com/office/drawing/2014/main" id="{9356CDDB-ECC1-BFF4-969D-8EEBA9B601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218877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487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9589A103-9F95-EE63-89D6-9EE6A7F48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74026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ACF8C578-5433-9C13-0053-05BD4C8DED1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42550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89A2-AD67-685A-3C26-9F15EC1E8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2DF9E8-3201-7E95-1DB8-2F5E3C9DB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4"/>
            <a:ext cx="9753600" cy="1766146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24B699-A3C8-77BC-B95C-477677A3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130A6-171A-41CD-A435-A3766BFF2223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718D4-D776-3CE4-E28A-4EACE22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57405-4C1E-4DFF-ABD9-427BB4C99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5CEFC-263F-4D81-9B15-69B887466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74290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15322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05370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723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14679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7943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30777DB8-8F31-4920-9ED8-891DAFB349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55B0D5F-0D49-44AA-B6A3-5585E2435D8F}"/>
              </a:ext>
            </a:extLst>
          </p:cNvPr>
          <p:cNvSpPr/>
          <p:nvPr userDrawn="1"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57C2D78-2B07-4691-A236-70E31EF39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918370A-67C2-4A95-9C0A-1ADA34949B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B76A1AC9-D26F-4D84-951F-8821394994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EE1E851-D3C6-42FA-BEB6-196FB5A6CA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FC782E3B-19A9-4DC7-A92C-AAA949AF2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94E4F0D-3A53-BD98-CA84-66EDB32B40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196359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5468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18944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7668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9259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70634C4C-C400-FD4F-A934-2CA6F38A7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3722" y="6473393"/>
            <a:ext cx="1049532" cy="706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377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1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7CBA4BA-2AC5-759D-196C-67CA4CAC51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9455" y="6718307"/>
            <a:ext cx="685800" cy="46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987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4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1" y="3026889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59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886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0F0A494C-4833-D7CA-2848-D19DA1B44C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251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old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A2F7952-3752-4F59-A5C6-0DAFDC1D26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77A460D-2624-4DC6-901D-A9841102A4B8}"/>
              </a:ext>
            </a:extLst>
          </p:cNvPr>
          <p:cNvSpPr/>
          <p:nvPr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rgbClr val="E2CA91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02" y="4873174"/>
            <a:ext cx="2271913" cy="198684"/>
          </a:xfrm>
          <a:prstGeom prst="rect">
            <a:avLst/>
          </a:prstGeom>
        </p:spPr>
      </p:pic>
      <p:pic>
        <p:nvPicPr>
          <p:cNvPr id="3" name="Picture 2" descr="Wordmark_center_Purple_HEX.png">
            <a:extLst>
              <a:ext uri="{FF2B5EF4-FFF2-40B4-BE49-F238E27FC236}">
                <a16:creationId xmlns:a16="http://schemas.microsoft.com/office/drawing/2014/main" id="{E83C033D-B55F-DDA9-79B8-893841B071F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975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2701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78F71BE9-DB46-44C0-935E-5B995B95F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502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7" y="6922425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59" y="910016"/>
            <a:ext cx="1569822" cy="102786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6597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955388" y="2182463"/>
            <a:ext cx="9916159" cy="281787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1067"/>
              </a:spcBef>
              <a:buClr>
                <a:schemeClr val="dk1"/>
              </a:buClr>
              <a:buFont typeface="Arial"/>
              <a:buNone/>
              <a:defRPr sz="5335" b="1" i="0" u="none" strike="noStrike" cap="none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Encode Sans Black"/>
              </a:defRPr>
            </a:lvl1pPr>
            <a:lvl2pPr marL="487710" marR="0" lvl="1" indent="0" algn="l" rtl="0">
              <a:spcBef>
                <a:spcPts val="597"/>
              </a:spcBef>
              <a:buClr>
                <a:srgbClr val="E8D3A2"/>
              </a:buClr>
              <a:buFont typeface="Arial"/>
              <a:buChar char="○"/>
              <a:defRPr sz="2987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975420" marR="0" lvl="2" indent="0" algn="l" rtl="0">
              <a:spcBef>
                <a:spcPts val="512"/>
              </a:spcBef>
              <a:buClr>
                <a:srgbClr val="E8D3A2"/>
              </a:buClr>
              <a:buFont typeface="Arial"/>
              <a:buChar char="■"/>
              <a:defRPr sz="256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1463132" marR="0" lvl="3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●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950842" marR="0" lvl="4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○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2682408" marR="0" lvl="5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70118" marR="0" lvl="6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828" marR="0" lvl="7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45540" marR="0" lvl="8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9" name="Shape 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08570" y="5000339"/>
            <a:ext cx="2275839" cy="1490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2D440B6F-09BA-43C6-832A-57F4362E0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016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00E6950-6D26-4962-AB43-36CB8D6AF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2910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D059199-1963-420E-8D6C-6D1537FA6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32001-8C2F-4802-B20A-1EFB92B96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8028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AE2EC6D8-DAC9-45D3-A4B8-1A4CE5BD2D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7943F8-2FA9-4CB9-962D-3A78D199D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2731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5" name="Picture 4" descr="W logo">
            <a:extLst>
              <a:ext uri="{FF2B5EF4-FFF2-40B4-BE49-F238E27FC236}">
                <a16:creationId xmlns:a16="http://schemas.microsoft.com/office/drawing/2014/main" id="{9356CDDB-ECC1-BFF4-969D-8EEBA9B601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218877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2063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9589A103-9F95-EE63-89D6-9EE6A7F48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14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ACF8C578-5433-9C13-0053-05BD4C8DED1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8906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89A2-AD67-685A-3C26-9F15EC1E8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2DF9E8-3201-7E95-1DB8-2F5E3C9DB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4"/>
            <a:ext cx="9753600" cy="1766146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24B699-A3C8-77BC-B95C-477677A3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130A6-171A-41CD-A435-A3766BFF2223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718D4-D776-3CE4-E28A-4EACE22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57405-4C1E-4DFF-ABD9-427BB4C99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5CEFC-263F-4D81-9B15-69B887466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113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50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48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5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13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4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898" y="6599039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69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0" y="6043210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19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BLANK PAG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189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2" y="6043211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20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r>
              <a:rPr lang="mr-IN"/>
              <a:t>–</a:t>
            </a:r>
            <a:r>
              <a:rPr lang="en-US"/>
              <a:t> 2 columns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562188" y="971114"/>
            <a:ext cx="11694224" cy="409547"/>
          </a:xfrm>
        </p:spPr>
        <p:txBody>
          <a:bodyPr>
            <a:normAutofit/>
          </a:bodyPr>
          <a:lstStyle>
            <a:lvl1pPr marL="0" indent="0">
              <a:buNone/>
              <a:defRPr sz="2347" cap="all" baseline="0">
                <a:solidFill>
                  <a:schemeClr val="bg2">
                    <a:lumMod val="75000"/>
                  </a:schemeClr>
                </a:solidFill>
              </a:defRPr>
            </a:lvl1pPr>
            <a:lvl2pPr marL="487661" indent="0" algn="l">
              <a:buNone/>
              <a:defRPr cap="all" baseline="0"/>
            </a:lvl2pPr>
            <a:lvl3pPr marL="975321" indent="0">
              <a:buNone/>
              <a:defRPr/>
            </a:lvl3pPr>
            <a:lvl4pPr marL="1462982" indent="0">
              <a:buNone/>
              <a:defRPr/>
            </a:lvl4pPr>
            <a:lvl5pPr marL="1950641" indent="0">
              <a:buNone/>
              <a:defRPr/>
            </a:lvl5pPr>
          </a:lstStyle>
          <a:p>
            <a:pPr lvl="0"/>
            <a:r>
              <a:rPr lang="en-US"/>
              <a:t>SUB-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61420" y="1540816"/>
            <a:ext cx="6037503" cy="479573"/>
          </a:xfrm>
        </p:spPr>
        <p:txBody>
          <a:bodyPr>
            <a:normAutofit/>
          </a:bodyPr>
          <a:lstStyle>
            <a:lvl1pPr marL="0" marR="0" indent="0" algn="l" defTabSz="9753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47" baseline="0">
                <a:solidFill>
                  <a:schemeClr val="tx2"/>
                </a:solidFill>
              </a:defRPr>
            </a:lvl1pPr>
          </a:lstStyle>
          <a:p>
            <a: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47">
                <a:solidFill>
                  <a:schemeClr val="tx1"/>
                </a:solidFill>
                <a:latin typeface="+mn-lt"/>
                <a:cs typeface="Arial"/>
              </a:rPr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840735" y="2187788"/>
            <a:ext cx="5870787" cy="453136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CA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ip: The second box is here to use if you need it. Using a 2 column format helps break up line length so your content is easier to read. Or not!—i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’s entirely up to you.</a:t>
            </a:r>
            <a:endParaRPr lang="en-CA" sz="192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62188" y="2187788"/>
            <a:ext cx="6036735" cy="4531361"/>
          </a:xfrm>
        </p:spPr>
        <p:txBody>
          <a:bodyPr>
            <a:normAutofit/>
          </a:bodyPr>
          <a:lstStyle>
            <a:lvl1pPr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US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You might pu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an introduction to a bulleted list here, with a list to follow. </a:t>
            </a:r>
            <a:r>
              <a:rPr lang="en-CA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O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r you might simply delete some of these items and use this entire page for other free-form content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0728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6" y="6043213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20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r>
              <a:rPr lang="mr-IN"/>
              <a:t>–</a:t>
            </a:r>
            <a:r>
              <a:rPr lang="en-US"/>
              <a:t> 2 columns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562192" y="971116"/>
            <a:ext cx="11694224" cy="409547"/>
          </a:xfrm>
        </p:spPr>
        <p:txBody>
          <a:bodyPr>
            <a:normAutofit/>
          </a:bodyPr>
          <a:lstStyle>
            <a:lvl1pPr marL="0" indent="0">
              <a:buNone/>
              <a:defRPr sz="2347" cap="all" baseline="0">
                <a:solidFill>
                  <a:schemeClr val="bg2">
                    <a:lumMod val="75000"/>
                  </a:schemeClr>
                </a:solidFill>
              </a:defRPr>
            </a:lvl1pPr>
            <a:lvl2pPr marL="487661" indent="0" algn="l">
              <a:buNone/>
              <a:defRPr cap="all" baseline="0"/>
            </a:lvl2pPr>
            <a:lvl3pPr marL="975321" indent="0">
              <a:buNone/>
              <a:defRPr/>
            </a:lvl3pPr>
            <a:lvl4pPr marL="1462982" indent="0">
              <a:buNone/>
              <a:defRPr/>
            </a:lvl4pPr>
            <a:lvl5pPr marL="1950641" indent="0">
              <a:buNone/>
              <a:defRPr/>
            </a:lvl5pPr>
          </a:lstStyle>
          <a:p>
            <a:pPr lvl="0"/>
            <a:r>
              <a:rPr lang="en-US"/>
              <a:t>SUB-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61424" y="1540816"/>
            <a:ext cx="6037503" cy="479573"/>
          </a:xfrm>
        </p:spPr>
        <p:txBody>
          <a:bodyPr>
            <a:normAutofit/>
          </a:bodyPr>
          <a:lstStyle>
            <a:lvl1pPr marL="0" marR="0" indent="0" algn="l" defTabSz="975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47" baseline="0">
                <a:solidFill>
                  <a:schemeClr val="tx2"/>
                </a:solidFill>
              </a:defRPr>
            </a:lvl1pPr>
          </a:lstStyle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47">
                <a:solidFill>
                  <a:schemeClr val="tx1"/>
                </a:solidFill>
                <a:latin typeface="+mn-lt"/>
                <a:cs typeface="Arial"/>
              </a:rPr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840739" y="2187789"/>
            <a:ext cx="5870787" cy="453136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CA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ip: The second box is here to use if you need it. Using a 2 column format helps break up line length so your content is easier to read. Or not!—i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’s entirely up to you.</a:t>
            </a:r>
            <a:endParaRPr lang="en-CA" sz="192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62192" y="2187789"/>
            <a:ext cx="6036735" cy="4531361"/>
          </a:xfrm>
        </p:spPr>
        <p:txBody>
          <a:bodyPr>
            <a:normAutofit/>
          </a:bodyPr>
          <a:lstStyle>
            <a:lvl1pPr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US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You might pu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an introduction to a bulleted list here, with a list to follow. </a:t>
            </a:r>
            <a:r>
              <a:rPr lang="en-CA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O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r you might simply delete some of these items and use this entire page for other free-form content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7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90" indent="-243819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62" indent="-243819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103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3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4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0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3345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525845"/>
            <a:ext cx="11622699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endParaRPr lang="en-US"/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8" y="1939213"/>
            <a:ext cx="11640408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28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F98A7-9ECA-97DA-C8D2-97AADA606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138E92-A7C0-C914-BEB0-444CCBDED6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E4F862-BBB7-EA59-8815-E8842B341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8099-32B5-4A36-8DFD-FBE07A9DD641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EB4288-4359-3F9E-1333-F66CEE7C2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DE2649-DC30-3944-7EBC-891D3E074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0FE64-594E-4788-AA1F-9CB9F2376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976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042" y="867001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210436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rgbClr val="7030A0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0218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C4B8C-6D02-BB28-7CC5-2C47B035DF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AFE5FA-C560-CD6C-BF85-12FEDD159E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3"/>
            <a:ext cx="9753600" cy="1766147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61" indent="0" algn="ctr">
              <a:buNone/>
              <a:defRPr sz="2133"/>
            </a:lvl2pPr>
            <a:lvl3pPr marL="975321" indent="0" algn="ctr">
              <a:buNone/>
              <a:defRPr sz="1920"/>
            </a:lvl3pPr>
            <a:lvl4pPr marL="1462982" indent="0" algn="ctr">
              <a:buNone/>
              <a:defRPr sz="1707"/>
            </a:lvl4pPr>
            <a:lvl5pPr marL="1950641" indent="0" algn="ctr">
              <a:buNone/>
              <a:defRPr sz="1707"/>
            </a:lvl5pPr>
            <a:lvl6pPr marL="2438301" indent="0" algn="ctr">
              <a:buNone/>
              <a:defRPr sz="1707"/>
            </a:lvl6pPr>
            <a:lvl7pPr marL="2925960" indent="0" algn="ctr">
              <a:buNone/>
              <a:defRPr sz="1707"/>
            </a:lvl7pPr>
            <a:lvl8pPr marL="3413621" indent="0" algn="ctr">
              <a:buNone/>
              <a:defRPr sz="1707"/>
            </a:lvl8pPr>
            <a:lvl9pPr marL="390128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EAF085-FF6C-5950-A4B4-DE3FFD895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8099-32B5-4A36-8DFD-FBE07A9DD641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18566-2962-E0DD-756A-A00BA6FF4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ECBD6B-AB27-B609-9948-9E56AF6C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0FE64-594E-4788-AA1F-9CB9F2376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6372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4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3" y="6249611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371001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2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35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31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5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2" y="3009782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EDCDF131-7513-40D8-96A4-52EDD98C0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0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04B6E0-EED1-489D-A05E-A10EC427A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06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21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832" y="716501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851" y="4721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C1EFB-D411-43C8-A17F-A6FC52D98D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89120" y="4041987"/>
            <a:ext cx="975360" cy="975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8514650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11A2C48-E297-4639-AD63-04992006CF9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32070" y="201002"/>
            <a:ext cx="520192" cy="382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93">
                <a:solidFill>
                  <a:schemeClr val="tx1"/>
                </a:solidFill>
              </a:defRPr>
            </a:lvl1pPr>
          </a:lstStyle>
          <a:p>
            <a:fld id="{D905AD32-5431-4118-BCBF-BBD2C4DF8F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1485687-CECD-4338-BDFE-CAE67FACF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84D8C41-2CE7-4B18-BA68-EE5F4E7EA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361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thly Status Slid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47C3A-CCC0-4F6B-8087-9EDB806753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6590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896" y="6599038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13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2314DA-FCE4-415E-B153-A868078637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71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01146-5FF0-41EF-8E25-A6912CF00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66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902" y="6599041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98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2314DA-FCE4-415E-B153-A868078637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50" y="1232526"/>
            <a:ext cx="1569822" cy="13704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0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01146-5FF0-41EF-8E25-A6912CF00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50" y="1232526"/>
            <a:ext cx="1569822" cy="13704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65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0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27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97267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44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52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29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1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0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0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8" y="1698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" y="1698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9" y="396280"/>
            <a:ext cx="11640408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189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540" indent="-243839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29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B011C96-7D91-4C37-A736-AE7340FE63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189" y="6517675"/>
            <a:ext cx="2978435" cy="68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3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399" y="6586003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9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2"/>
            <a:ext cx="11481380" cy="4323789"/>
          </a:xfrm>
          <a:prstGeom prst="rect">
            <a:avLst/>
          </a:prstGeom>
        </p:spPr>
        <p:txBody>
          <a:bodyPr/>
          <a:lstStyle>
            <a:lvl1pPr marL="365753" indent="-365753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175" indent="-24383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517" indent="-24383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66" y="1797863"/>
            <a:ext cx="1177365" cy="10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54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81513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90" indent="-243819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62" indent="-243819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444497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8" y="1698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" y="1698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9" y="396280"/>
            <a:ext cx="11640408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486" indent="-243833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2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B011C96-7D91-4C37-A736-AE7340FE63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189" y="6517675"/>
            <a:ext cx="2978435" cy="68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69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5/26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949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405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70" y="113050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70" y="1996072"/>
            <a:ext cx="11481380" cy="4323789"/>
          </a:xfrm>
          <a:prstGeom prst="rect">
            <a:avLst/>
          </a:prstGeom>
        </p:spPr>
        <p:txBody>
          <a:bodyPr/>
          <a:lstStyle>
            <a:lvl1pPr marL="365744" indent="-36574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145" indent="-243831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463" indent="-243831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68" y="1797866"/>
            <a:ext cx="1177365" cy="10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51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9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22510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9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19" indent="-365719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60" indent="-243813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07" indent="-243813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38102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11A2C48-E297-4639-AD63-04992006CF9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32070" y="201002"/>
            <a:ext cx="520192" cy="382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93">
                <a:solidFill>
                  <a:schemeClr val="tx1"/>
                </a:solidFill>
              </a:defRPr>
            </a:lvl1pPr>
          </a:lstStyle>
          <a:p>
            <a:fld id="{D905AD32-5431-4118-BCBF-BBD2C4DF8F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1485687-CECD-4338-BDFE-CAE67FACF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84D8C41-2CE7-4B18-BA68-EE5F4E7EA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489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thly Status Slid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47C3A-CCC0-4F6B-8087-9EDB806753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0162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270" y="6730163"/>
            <a:ext cx="2711863" cy="35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0899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90000"/>
              </a:lnSpc>
              <a:defRPr sz="1493"/>
            </a:lvl1pPr>
            <a:lvl2pPr marL="840453" indent="-323250">
              <a:lnSpc>
                <a:spcPct val="90000"/>
              </a:lnSpc>
              <a:buFont typeface="Lucida Grande"/>
              <a:buChar char="–"/>
              <a:defRPr sz="1387"/>
            </a:lvl2pPr>
            <a:lvl3pPr>
              <a:lnSpc>
                <a:spcPct val="90000"/>
              </a:lnSpc>
              <a:defRPr sz="1387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7445" y="529382"/>
            <a:ext cx="11843766" cy="450001"/>
          </a:xfrm>
        </p:spPr>
        <p:txBody>
          <a:bodyPr/>
          <a:lstStyle>
            <a:lvl1pPr marL="0" indent="0">
              <a:buNone/>
              <a:defRPr sz="154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80518" y="181230"/>
            <a:ext cx="11843766" cy="340956"/>
          </a:xfrm>
        </p:spPr>
        <p:txBody>
          <a:bodyPr/>
          <a:lstStyle>
            <a:lvl1pPr>
              <a:defRPr sz="2322">
                <a:solidFill>
                  <a:srgbClr val="0A21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DCD33E-C365-2044-8C4C-AAE8BB2A3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ISC - Transition to Operations </a:t>
            </a:r>
          </a:p>
        </p:txBody>
      </p:sp>
    </p:spTree>
    <p:extLst>
      <p:ext uri="{BB962C8B-B14F-4D97-AF65-F5344CB8AC3E}">
        <p14:creationId xmlns:p14="http://schemas.microsoft.com/office/powerpoint/2010/main" val="1628391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26B43"/>
          </p15:clr>
        </p15:guide>
        <p15:guide id="2" pos="4189">
          <p15:clr>
            <a:srgbClr val="F26B43"/>
          </p15:clr>
        </p15:guide>
        <p15:guide id="3" pos="8271">
          <p15:clr>
            <a:srgbClr val="F26B43"/>
          </p15:clr>
        </p15:guide>
        <p15:guide id="4" pos="4279">
          <p15:clr>
            <a:srgbClr val="F26B43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530254"/>
            <a:ext cx="11704320" cy="616030"/>
          </a:xfrm>
          <a:prstGeom prst="rect">
            <a:avLst/>
          </a:prstGeom>
        </p:spPr>
        <p:txBody>
          <a:bodyPr anchor="ctr"/>
          <a:lstStyle>
            <a:lvl1pPr algn="l">
              <a:defRPr sz="398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8" y="1939213"/>
            <a:ext cx="11640408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4D6F7B5-8F00-4C4C-9129-354F4A9CA9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BA265A-1CAA-4A31-867A-CFB64110CD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9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327575"/>
            <a:ext cx="11658118" cy="5052905"/>
          </a:xfrm>
          <a:prstGeom prst="rect">
            <a:avLst/>
          </a:prstGeom>
        </p:spPr>
        <p:txBody>
          <a:bodyPr/>
          <a:lstStyle>
            <a:lvl1pPr marL="365744" indent="-365744">
              <a:buFont typeface="Lucida Grande"/>
              <a:buChar char="&gt;"/>
              <a:defRPr sz="2560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1pPr>
            <a:lvl2pPr>
              <a:defRPr sz="2133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2pPr>
            <a:lvl3pPr marL="1219150" indent="-243831">
              <a:buSzPct val="100000"/>
              <a:buFont typeface="Lucida Grande"/>
              <a:buChar char="&gt;"/>
              <a:defRPr sz="1920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3pPr>
            <a:lvl4pPr>
              <a:defRPr sz="1707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4pPr>
            <a:lvl5pPr marL="2194472" indent="-243831">
              <a:buFont typeface="Lucida Grande"/>
              <a:buChar char="&gt;"/>
              <a:defRPr sz="1493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5pPr>
          </a:lstStyle>
          <a:p>
            <a:pPr lvl="0"/>
            <a:r>
              <a:rPr lang="en-US"/>
              <a:t>Content here (Calibri Light, 24 pt.)</a:t>
            </a:r>
          </a:p>
          <a:p>
            <a:pPr lvl="1"/>
            <a:r>
              <a:rPr lang="en-US"/>
              <a:t>Second level (Calibri Light, 20)</a:t>
            </a:r>
          </a:p>
          <a:p>
            <a:pPr lvl="2"/>
            <a:r>
              <a:rPr lang="en-US"/>
              <a:t>Third level (Calibri Light, 18)</a:t>
            </a:r>
          </a:p>
          <a:p>
            <a:pPr lvl="3"/>
            <a:r>
              <a:rPr lang="en-US"/>
              <a:t>Fourth level (Calibri Light, 16)</a:t>
            </a:r>
          </a:p>
          <a:p>
            <a:pPr lvl="4"/>
            <a:r>
              <a:rPr lang="en-US"/>
              <a:t>Fifth level (Calibri Light, 14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0509" y="939637"/>
            <a:ext cx="1569822" cy="102787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396277"/>
            <a:ext cx="11640408" cy="4978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(ARIAL BLACK, 30 PT.)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199616" y="6780109"/>
            <a:ext cx="3034453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19F11-7C95-0E48-8438-1F242063E0A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728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680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EF1D9F59-496A-4944-8002-A750CA4BF2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2" y="6249610"/>
            <a:ext cx="2993847" cy="72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655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6117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3072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1475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5825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70449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5/26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60979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23882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963293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999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360" y="741274"/>
            <a:ext cx="11054080" cy="633984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840" spc="-80" dirty="0">
                <a:latin typeface="+mj-lt"/>
              </a:defRPr>
            </a:lvl1pPr>
          </a:lstStyle>
          <a:p>
            <a:pPr lvl="0" defTabSz="731543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75702" y="1443533"/>
            <a:ext cx="11053739" cy="5071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80"/>
            </a:lvl1pPr>
          </a:lstStyle>
          <a:p>
            <a:pPr marL="243848" lvl="0" indent="-243848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75969" y="497433"/>
            <a:ext cx="3579571" cy="21674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60" b="1" kern="0" cap="all" spc="267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43848" lvl="0" indent="-243848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4745956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4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1914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1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797862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466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9876" y="1940486"/>
            <a:ext cx="1569822" cy="13704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207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E83EAACA-91C2-475E-8300-A03026DB04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49" y="6638167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266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12984293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797862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2200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3166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UW_W Logo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3" y="6342244"/>
            <a:ext cx="1950720" cy="985114"/>
          </a:xfrm>
          <a:prstGeom prst="rect">
            <a:avLst/>
          </a:prstGeom>
        </p:spPr>
      </p:pic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6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6" b="-577"/>
          <a:stretch/>
        </p:blipFill>
        <p:spPr>
          <a:xfrm>
            <a:off x="1126458" y="6668801"/>
            <a:ext cx="3701859" cy="45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73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33006E"/>
                </a:solidFill>
                <a:latin typeface="Encode Sans Normal"/>
                <a:cs typeface="Encode Sans Norm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6/2024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50" b="0" i="0">
                <a:solidFill>
                  <a:srgbClr val="8F88A3"/>
                </a:solidFill>
                <a:latin typeface="Calibri"/>
                <a:cs typeface="Calibri"/>
              </a:defRPr>
            </a:lvl1pPr>
          </a:lstStyle>
          <a:p>
            <a:pPr marL="25401">
              <a:lnSpc>
                <a:spcPts val="1315"/>
              </a:lnSpc>
            </a:pPr>
            <a:fld id="{81D60167-4931-47E6-BA6A-407CBD079E47}" type="slidenum">
              <a:rPr lang="en-US" spc="15" smtClean="0"/>
              <a:pPr marL="25401">
                <a:lnSpc>
                  <a:spcPts val="1315"/>
                </a:lnSpc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27369339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79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2" y="4273157"/>
            <a:ext cx="3248786" cy="120288"/>
          </a:xfrm>
          <a:prstGeom prst="rect">
            <a:avLst/>
          </a:prstGeom>
        </p:spPr>
      </p:pic>
      <p:pic>
        <p:nvPicPr>
          <p:cNvPr id="9" name="Picture 8" descr="University of Washington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3320" y="6777850"/>
            <a:ext cx="3612444" cy="284480"/>
          </a:xfrm>
          <a:prstGeom prst="rect">
            <a:avLst/>
          </a:prstGeom>
        </p:spPr>
      </p:pic>
      <p:pic>
        <p:nvPicPr>
          <p:cNvPr id="5" name="Picture 4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4" y="6342244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912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9407"/>
            <a:ext cx="11640408" cy="1065003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8" y="1846046"/>
            <a:ext cx="11640408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FFFFFF"/>
                </a:solidFill>
                <a:latin typeface="Uni Sans Regular"/>
                <a:cs typeface="Uni Sans Regular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	, 24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2474921"/>
            <a:ext cx="11658118" cy="4064092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86615" y="6777850"/>
            <a:ext cx="3612444" cy="28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2405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469518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852507"/>
            <a:ext cx="11487226" cy="4283197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Bulleted content here (Open Sans Light, 24 pt.)</a:t>
            </a:r>
          </a:p>
          <a:p>
            <a:pPr lvl="1"/>
            <a:r>
              <a:rPr lang="en-US"/>
              <a:t>Second level (Open Sans Light, 20)</a:t>
            </a:r>
          </a:p>
          <a:p>
            <a:pPr lvl="2"/>
            <a:r>
              <a:rPr lang="en-US"/>
              <a:t>Third level (Open Sans Light, 18)</a:t>
            </a:r>
          </a:p>
          <a:p>
            <a:pPr lvl="3"/>
            <a:r>
              <a:rPr lang="en-US"/>
              <a:t>Fourth level (Open Sans Light, 16)</a:t>
            </a:r>
          </a:p>
          <a:p>
            <a:pPr lvl="4"/>
            <a:r>
              <a:rPr lang="en-US"/>
              <a:t>Fifth level (Open Sans Light, 14)</a:t>
            </a:r>
          </a:p>
        </p:txBody>
      </p:sp>
      <p:pic>
        <p:nvPicPr>
          <p:cNvPr id="5" name="Picture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4" y="6342244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337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543671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7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86615" y="6777850"/>
            <a:ext cx="3612444" cy="28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603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2" y="4273157"/>
            <a:ext cx="3248786" cy="120288"/>
          </a:xfrm>
          <a:prstGeom prst="rect">
            <a:avLst/>
          </a:prstGeom>
        </p:spPr>
      </p:pic>
      <p:pic>
        <p:nvPicPr>
          <p:cNvPr id="9" name="Picture 8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456" y="6919954"/>
            <a:ext cx="3449308" cy="174266"/>
          </a:xfrm>
          <a:prstGeom prst="rect">
            <a:avLst/>
          </a:prstGeom>
        </p:spPr>
      </p:pic>
      <p:pic>
        <p:nvPicPr>
          <p:cNvPr id="8" name="Picture 7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909" y="6346037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91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0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32" Type="http://schemas.openxmlformats.org/officeDocument/2006/relationships/theme" Target="../theme/theme12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slideLayout" Target="../slideLayouts/slideLayout134.xml"/><Relationship Id="rId30" Type="http://schemas.openxmlformats.org/officeDocument/2006/relationships/slideLayout" Target="../slideLayouts/slideLayout13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4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46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0" Type="http://schemas.openxmlformats.org/officeDocument/2006/relationships/theme" Target="../theme/theme14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153.xml"/><Relationship Id="rId19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oleObject" Target="../embeddings/oleObject7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267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7" r:id="rId6"/>
    <p:sldLayoutId id="2147484469" r:id="rId7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986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3" r:id="rId2"/>
    <p:sldLayoutId id="2147483664" r:id="rId3"/>
    <p:sldLayoutId id="2147483665" r:id="rId4"/>
  </p:sldLayoutIdLst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0732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37" r:id="rId1"/>
    <p:sldLayoutId id="2147485038" r:id="rId2"/>
    <p:sldLayoutId id="2147485039" r:id="rId3"/>
    <p:sldLayoutId id="2147485040" r:id="rId4"/>
    <p:sldLayoutId id="2147485041" r:id="rId5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10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80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95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3" r:id="rId1"/>
    <p:sldLayoutId id="2147485044" r:id="rId2"/>
    <p:sldLayoutId id="2147485045" r:id="rId3"/>
    <p:sldLayoutId id="2147485046" r:id="rId4"/>
    <p:sldLayoutId id="2147485047" r:id="rId5"/>
    <p:sldLayoutId id="2147485048" r:id="rId6"/>
    <p:sldLayoutId id="2147485049" r:id="rId7"/>
    <p:sldLayoutId id="2147485050" r:id="rId8"/>
    <p:sldLayoutId id="2147485051" r:id="rId9"/>
    <p:sldLayoutId id="2147485052" r:id="rId10"/>
    <p:sldLayoutId id="2147485053" r:id="rId11"/>
    <p:sldLayoutId id="2147485054" r:id="rId12"/>
    <p:sldLayoutId id="2147485055" r:id="rId13"/>
    <p:sldLayoutId id="2147485056" r:id="rId14"/>
    <p:sldLayoutId id="2147485057" r:id="rId15"/>
    <p:sldLayoutId id="2147485058" r:id="rId16"/>
    <p:sldLayoutId id="2147485059" r:id="rId17"/>
    <p:sldLayoutId id="2147485060" r:id="rId18"/>
    <p:sldLayoutId id="2147485061" r:id="rId19"/>
    <p:sldLayoutId id="2147485062" r:id="rId20"/>
    <p:sldLayoutId id="2147485063" r:id="rId21"/>
    <p:sldLayoutId id="2147485064" r:id="rId22"/>
    <p:sldLayoutId id="2147485065" r:id="rId23"/>
    <p:sldLayoutId id="2147485066" r:id="rId24"/>
    <p:sldLayoutId id="2147485067" r:id="rId25"/>
    <p:sldLayoutId id="2147485068" r:id="rId26"/>
    <p:sldLayoutId id="2147485069" r:id="rId27"/>
    <p:sldLayoutId id="2147485070" r:id="rId28"/>
    <p:sldLayoutId id="2147485071" r:id="rId29"/>
    <p:sldLayoutId id="2147485072" r:id="rId30"/>
    <p:sldLayoutId id="2147485073" r:id="rId31"/>
  </p:sldLayoutIdLst>
  <p:hf hdr="0" ftr="0" dt="0"/>
  <p:txStyles>
    <p:titleStyle>
      <a:lvl1pPr algn="ctr" defTabSz="487637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27" indent="-365727" algn="l" defTabSz="487637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409" indent="-304773" algn="l" defTabSz="487637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090" indent="-243818" algn="l" defTabSz="487637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724" indent="-243818" algn="l" defTabSz="487637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358" indent="-243818" algn="l" defTabSz="487637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1993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69630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264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4900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37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271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06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42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177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12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446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083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38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CD920-680D-4F34-ADA4-C918FD01A7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24" imgH="526" progId="TCLayout.ActiveDocument.1">
                  <p:embed/>
                </p:oleObj>
              </mc:Choice>
              <mc:Fallback>
                <p:oleObj name="think-cell Slide" r:id="rId22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CD920-680D-4F34-ADA4-C918FD01A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85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2" r:id="rId1"/>
    <p:sldLayoutId id="2147485083" r:id="rId2"/>
    <p:sldLayoutId id="2147485084" r:id="rId3"/>
    <p:sldLayoutId id="2147485085" r:id="rId4"/>
    <p:sldLayoutId id="2147485086" r:id="rId5"/>
    <p:sldLayoutId id="2147485087" r:id="rId6"/>
    <p:sldLayoutId id="2147485088" r:id="rId7"/>
    <p:sldLayoutId id="2147485089" r:id="rId8"/>
    <p:sldLayoutId id="2147485090" r:id="rId9"/>
    <p:sldLayoutId id="2147485091" r:id="rId10"/>
    <p:sldLayoutId id="2147485092" r:id="rId11"/>
    <p:sldLayoutId id="2147485094" r:id="rId12"/>
    <p:sldLayoutId id="2147485096" r:id="rId13"/>
    <p:sldLayoutId id="2147485097" r:id="rId14"/>
    <p:sldLayoutId id="2147485098" r:id="rId15"/>
    <p:sldLayoutId id="2147485099" r:id="rId16"/>
    <p:sldLayoutId id="2147485100" r:id="rId17"/>
    <p:sldLayoutId id="2147485101" r:id="rId18"/>
    <p:sldLayoutId id="2147485102" r:id="rId19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70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955" r:id="rId7"/>
  </p:sldLayoutIdLst>
  <p:txStyles>
    <p:titleStyle>
      <a:lvl1pPr algn="ctr" defTabSz="65024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84" indent="-487684" algn="l" defTabSz="650244" rtl="0" eaLnBrk="1" latinLnBrk="0" hangingPunct="1">
        <a:spcBef>
          <a:spcPct val="20000"/>
        </a:spcBef>
        <a:buFont typeface="Arial"/>
        <a:buChar char="•"/>
        <a:defRPr sz="4552" kern="1200">
          <a:solidFill>
            <a:schemeClr val="tx1"/>
          </a:solidFill>
          <a:latin typeface="+mn-lt"/>
          <a:ea typeface="+mn-ea"/>
          <a:cs typeface="+mn-cs"/>
        </a:defRPr>
      </a:lvl1pPr>
      <a:lvl2pPr marL="1056646" indent="-406402" algn="l" defTabSz="65024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610" indent="-325122" algn="l" defTabSz="65024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55" indent="-325122" algn="l" defTabSz="650244" rtl="0" eaLnBrk="1" latinLnBrk="0" hangingPunct="1">
        <a:spcBef>
          <a:spcPct val="20000"/>
        </a:spcBef>
        <a:buFont typeface="Arial"/>
        <a:buChar char="–"/>
        <a:defRPr sz="2845" kern="1200">
          <a:solidFill>
            <a:schemeClr val="tx1"/>
          </a:solidFill>
          <a:latin typeface="+mn-lt"/>
          <a:ea typeface="+mn-ea"/>
          <a:cs typeface="+mn-cs"/>
        </a:defRPr>
      </a:lvl4pPr>
      <a:lvl5pPr marL="2926098" indent="-325122" algn="l" defTabSz="650244" rtl="0" eaLnBrk="1" latinLnBrk="0" hangingPunct="1">
        <a:spcBef>
          <a:spcPct val="20000"/>
        </a:spcBef>
        <a:buFont typeface="Arial"/>
        <a:buChar char="»"/>
        <a:defRPr sz="2845" kern="1200">
          <a:solidFill>
            <a:schemeClr val="tx1"/>
          </a:solidFill>
          <a:latin typeface="+mn-lt"/>
          <a:ea typeface="+mn-ea"/>
          <a:cs typeface="+mn-cs"/>
        </a:defRPr>
      </a:lvl5pPr>
      <a:lvl6pPr marL="3576342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6pPr>
      <a:lvl7pPr marL="4226586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7pPr>
      <a:lvl8pPr marL="4876831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8pPr>
      <a:lvl9pPr marL="5527074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44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89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73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76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221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465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708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95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1D3EA-3AB1-4B6E-AC62-54110A4B6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6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027C5736-9629-47CC-A998-BFA1A1D8E8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4951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92" r:id="rId1"/>
    <p:sldLayoutId id="2147484893" r:id="rId2"/>
    <p:sldLayoutId id="2147484894" r:id="rId3"/>
    <p:sldLayoutId id="2147484895" r:id="rId4"/>
    <p:sldLayoutId id="2147484896" r:id="rId5"/>
  </p:sldLayoutIdLst>
  <p:hf hdr="0" ftr="0" dt="0"/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7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628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2" r:id="rId1"/>
    <p:sldLayoutId id="2147484954" r:id="rId2"/>
  </p:sldLayoutIdLs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CD920-680D-4F34-ADA4-C918FD01A7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24" imgH="526" progId="TCLayout.ActiveDocument.1">
                  <p:embed/>
                </p:oleObj>
              </mc:Choice>
              <mc:Fallback>
                <p:oleObj name="think-cell Slide" r:id="rId14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CD920-680D-4F34-ADA4-C918FD01A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4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  <p:sldLayoutId id="2147484959" r:id="rId3"/>
    <p:sldLayoutId id="2147484960" r:id="rId4"/>
    <p:sldLayoutId id="2147484961" r:id="rId5"/>
    <p:sldLayoutId id="2147484962" r:id="rId6"/>
    <p:sldLayoutId id="2147484963" r:id="rId7"/>
    <p:sldLayoutId id="2147484965" r:id="rId8"/>
    <p:sldLayoutId id="2147484966" r:id="rId9"/>
    <p:sldLayoutId id="2147485034" r:id="rId10"/>
    <p:sldLayoutId id="2147485035" r:id="rId11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9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35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8" r:id="rId1"/>
    <p:sldLayoutId id="2147484969" r:id="rId2"/>
    <p:sldLayoutId id="2147484971" r:id="rId3"/>
    <p:sldLayoutId id="2147484972" r:id="rId4"/>
    <p:sldLayoutId id="2147484973" r:id="rId5"/>
    <p:sldLayoutId id="2147484974" r:id="rId6"/>
    <p:sldLayoutId id="2147484975" r:id="rId7"/>
    <p:sldLayoutId id="2147484976" r:id="rId8"/>
    <p:sldLayoutId id="2147484977" r:id="rId9"/>
    <p:sldLayoutId id="2147484978" r:id="rId10"/>
    <p:sldLayoutId id="2147484979" r:id="rId11"/>
    <p:sldLayoutId id="2147484980" r:id="rId12"/>
    <p:sldLayoutId id="2147484981" r:id="rId13"/>
    <p:sldLayoutId id="2147484982" r:id="rId14"/>
    <p:sldLayoutId id="2147484983" r:id="rId15"/>
    <p:sldLayoutId id="2147484984" r:id="rId16"/>
    <p:sldLayoutId id="2147484985" r:id="rId17"/>
    <p:sldLayoutId id="2147484986" r:id="rId18"/>
    <p:sldLayoutId id="2147484987" r:id="rId19"/>
    <p:sldLayoutId id="2147484988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9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50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0" r:id="rId1"/>
    <p:sldLayoutId id="2147484991" r:id="rId2"/>
    <p:sldLayoutId id="2147484992" r:id="rId3"/>
    <p:sldLayoutId id="2147484993" r:id="rId4"/>
    <p:sldLayoutId id="2147484994" r:id="rId5"/>
    <p:sldLayoutId id="2147484995" r:id="rId6"/>
    <p:sldLayoutId id="2147484996" r:id="rId7"/>
    <p:sldLayoutId id="2147484997" r:id="rId8"/>
    <p:sldLayoutId id="2147484998" r:id="rId9"/>
    <p:sldLayoutId id="2147484999" r:id="rId10"/>
    <p:sldLayoutId id="2147485000" r:id="rId11"/>
    <p:sldLayoutId id="2147485001" r:id="rId12"/>
    <p:sldLayoutId id="2147485002" r:id="rId13"/>
    <p:sldLayoutId id="2147485003" r:id="rId14"/>
    <p:sldLayoutId id="2147485004" r:id="rId15"/>
    <p:sldLayoutId id="2147485005" r:id="rId16"/>
    <p:sldLayoutId id="2147485006" r:id="rId17"/>
    <p:sldLayoutId id="2147485007" r:id="rId18"/>
    <p:sldLayoutId id="2147485008" r:id="rId19"/>
    <p:sldLayoutId id="2147485009" r:id="rId20"/>
    <p:sldLayoutId id="2147485010" r:id="rId21"/>
    <p:sldLayoutId id="2147485011" r:id="rId22"/>
    <p:sldLayoutId id="2147485012" r:id="rId23"/>
    <p:sldLayoutId id="2147485013" r:id="rId24"/>
    <p:sldLayoutId id="2147485014" r:id="rId25"/>
    <p:sldLayoutId id="2147485015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8541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7" r:id="rId1"/>
    <p:sldLayoutId id="2147485018" r:id="rId2"/>
    <p:sldLayoutId id="2147485019" r:id="rId3"/>
    <p:sldLayoutId id="2147485020" r:id="rId4"/>
    <p:sldLayoutId id="2147485021" r:id="rId5"/>
    <p:sldLayoutId id="2147485022" r:id="rId6"/>
    <p:sldLayoutId id="2147485023" r:id="rId7"/>
    <p:sldLayoutId id="2147485025" r:id="rId8"/>
    <p:sldLayoutId id="2147485026" r:id="rId9"/>
    <p:sldLayoutId id="2147485027" r:id="rId10"/>
    <p:sldLayoutId id="2147485028" r:id="rId11"/>
    <p:sldLayoutId id="2147485029" r:id="rId12"/>
    <p:sldLayoutId id="2147485030" r:id="rId13"/>
    <p:sldLayoutId id="2147485031" r:id="rId14"/>
    <p:sldLayoutId id="2147485032" r:id="rId15"/>
    <p:sldLayoutId id="2147485033" r:id="rId16"/>
  </p:sldLayoutIdLst>
  <p:hf sldNum="0" hdr="0" ftr="0" dt="0"/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37030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</p:sldLayoutIdLst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finance.uw.edu/fr/node/87" TargetMode="Externa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finance.uw.edu/fr/year-end-clos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6" y="917323"/>
            <a:ext cx="11980588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Shared Environment accounting forum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sz="2800" b="0" dirty="0">
                <a:solidFill>
                  <a:schemeClr val="tx2"/>
                </a:solidFill>
                <a:latin typeface="Encode Sans Normal Black"/>
              </a:rPr>
              <a:t>May 28, 2024</a:t>
            </a:r>
          </a:p>
        </p:txBody>
      </p:sp>
    </p:spTree>
    <p:extLst>
      <p:ext uri="{BB962C8B-B14F-4D97-AF65-F5344CB8AC3E}">
        <p14:creationId xmlns:p14="http://schemas.microsoft.com/office/powerpoint/2010/main" val="2579873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/>
              <a:t>Year-End Close </a:t>
            </a:r>
            <a:r>
              <a:rPr lang="en-US" sz="5400" b="1" dirty="0"/>
              <a:t>Resources and Q&amp;A</a:t>
            </a:r>
          </a:p>
        </p:txBody>
      </p:sp>
    </p:spTree>
    <p:extLst>
      <p:ext uri="{BB962C8B-B14F-4D97-AF65-F5344CB8AC3E}">
        <p14:creationId xmlns:p14="http://schemas.microsoft.com/office/powerpoint/2010/main" val="13421470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7045" y="466093"/>
            <a:ext cx="11658111" cy="1413369"/>
          </a:xfrm>
        </p:spPr>
        <p:txBody>
          <a:bodyPr lIns="130048" tIns="65024" rIns="130048" bIns="65024" anchor="b"/>
          <a:lstStyle/>
          <a:p>
            <a:r>
              <a:rPr lang="en-US">
                <a:latin typeface="Open Sans"/>
                <a:ea typeface="Open Sans"/>
                <a:cs typeface="Open Sans"/>
              </a:rPr>
              <a:t>Resource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7047" y="2214144"/>
            <a:ext cx="11976131" cy="3905889"/>
          </a:xfrm>
        </p:spPr>
        <p:txBody>
          <a:bodyPr lIns="130048" tIns="65024" rIns="130048" bIns="65024" anchor="t"/>
          <a:lstStyle/>
          <a:p>
            <a:pPr>
              <a:spcAft>
                <a:spcPts val="284"/>
              </a:spcAft>
            </a:pPr>
            <a:r>
              <a:rPr lang="en-US" sz="2844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Financial Reporting Year-End Close webpage: </a:t>
            </a:r>
            <a:r>
              <a:rPr lang="en-US" sz="2844" b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https://finance.uw.edu/fr/year-end-close</a:t>
            </a:r>
            <a:endParaRPr lang="en-US" sz="2844">
              <a:solidFill>
                <a:srgbClr val="4B2E83"/>
              </a:solidFill>
              <a:latin typeface="Open Sans"/>
              <a:ea typeface="Open Sans"/>
              <a:cs typeface="Open Sans"/>
            </a:endParaRPr>
          </a:p>
          <a:p>
            <a:pPr>
              <a:spcAft>
                <a:spcPts val="284"/>
              </a:spcAft>
            </a:pPr>
            <a:r>
              <a:rPr lang="en-US" sz="2844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Procurement Year-end Close webpage: </a:t>
            </a:r>
            <a:r>
              <a:rPr lang="en-US" sz="2844" b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https://finance.uw.edu/ps/tools-for-reconciling/fiscal-year-end</a:t>
            </a:r>
          </a:p>
          <a:p>
            <a:pPr>
              <a:spcAft>
                <a:spcPts val="284"/>
              </a:spcAft>
            </a:pPr>
            <a:r>
              <a:rPr lang="en-US" sz="2844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Banking &amp; Accounting Operations:</a:t>
            </a:r>
            <a:r>
              <a:rPr lang="en-US" sz="2844" b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 https://finance.uw.edu/bao</a:t>
            </a:r>
          </a:p>
          <a:p>
            <a:pPr>
              <a:spcAft>
                <a:spcPts val="284"/>
              </a:spcAft>
            </a:pPr>
            <a:r>
              <a:rPr lang="en-US" sz="2844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Annual Surveys: </a:t>
            </a:r>
            <a:r>
              <a:rPr lang="en-US" sz="2844" b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https://finance.uw.edu/fr/year-end-close/annual-surveys</a:t>
            </a:r>
          </a:p>
          <a:p>
            <a:pPr>
              <a:spcAft>
                <a:spcPts val="284"/>
              </a:spcAft>
            </a:pPr>
            <a:endParaRPr lang="en-US" sz="2844">
              <a:solidFill>
                <a:srgbClr val="4B2E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410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7045" y="466093"/>
            <a:ext cx="11658111" cy="1413369"/>
          </a:xfrm>
        </p:spPr>
        <p:txBody>
          <a:bodyPr lIns="130048" tIns="65024" rIns="130048" bIns="65024" anchor="b"/>
          <a:lstStyle/>
          <a:p>
            <a:r>
              <a:rPr lang="en-US">
                <a:latin typeface="Open Sans"/>
                <a:ea typeface="Open Sans"/>
                <a:cs typeface="Open Sans"/>
              </a:rPr>
              <a:t>Q: Are the year-end close deadlines flexible?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7047" y="2391482"/>
            <a:ext cx="11798794" cy="3905889"/>
          </a:xfrm>
        </p:spPr>
        <p:txBody>
          <a:bodyPr lIns="130048" tIns="65024" rIns="130048" bIns="65024" anchor="t"/>
          <a:lstStyle/>
          <a:p>
            <a:pPr>
              <a:spcBef>
                <a:spcPts val="0"/>
              </a:spcBef>
              <a:spcAft>
                <a:spcPts val="569"/>
              </a:spcAft>
            </a:pPr>
            <a:r>
              <a:rPr lang="en-US" u="sng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Answer</a:t>
            </a:r>
            <a:r>
              <a:rPr lang="en-US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:</a:t>
            </a:r>
            <a:r>
              <a:rPr lang="en-US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 The timeframes and cutoff dates are not flexible. The flexibility comes with Day 6 to Day 9 at 2pm PT where units have extra days to review and make any journal corrections before Operational Accounting closes.</a:t>
            </a:r>
            <a:endParaRPr lang="en-US"/>
          </a:p>
          <a:p>
            <a:pPr>
              <a:spcBef>
                <a:spcPts val="0"/>
              </a:spcBef>
              <a:spcAft>
                <a:spcPts val="569"/>
              </a:spcAft>
            </a:pPr>
            <a:endParaRPr lang="en-US" sz="2844"/>
          </a:p>
          <a:p>
            <a:pPr>
              <a:spcBef>
                <a:spcPts val="1991"/>
              </a:spcBef>
              <a:spcAft>
                <a:spcPts val="284"/>
              </a:spcAft>
            </a:pPr>
            <a:endParaRPr lang="en-US" sz="2844"/>
          </a:p>
          <a:p>
            <a:pPr>
              <a:spcAft>
                <a:spcPts val="284"/>
              </a:spcAft>
            </a:pPr>
            <a:endParaRPr lang="en-US" sz="2844"/>
          </a:p>
        </p:txBody>
      </p:sp>
    </p:spTree>
    <p:extLst>
      <p:ext uri="{BB962C8B-B14F-4D97-AF65-F5344CB8AC3E}">
        <p14:creationId xmlns:p14="http://schemas.microsoft.com/office/powerpoint/2010/main" val="34091708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7045" y="466093"/>
            <a:ext cx="11658111" cy="1413369"/>
          </a:xfrm>
        </p:spPr>
        <p:txBody>
          <a:bodyPr lIns="130048" tIns="65024" rIns="130048" bIns="65024" anchor="b"/>
          <a:lstStyle/>
          <a:p>
            <a:r>
              <a:rPr lang="en-US">
                <a:latin typeface="Open Sans"/>
                <a:ea typeface="Open Sans"/>
                <a:cs typeface="Open Sans"/>
              </a:rPr>
              <a:t>Q: Are there any mechanisms after Day 9 to post journals?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7047" y="2391482"/>
            <a:ext cx="11798794" cy="3905889"/>
          </a:xfrm>
        </p:spPr>
        <p:txBody>
          <a:bodyPr lIns="130048" tIns="65024" rIns="130048" bIns="65024" anchor="t"/>
          <a:lstStyle/>
          <a:p>
            <a:pPr>
              <a:spcBef>
                <a:spcPts val="0"/>
              </a:spcBef>
              <a:spcAft>
                <a:spcPts val="569"/>
              </a:spcAft>
            </a:pPr>
            <a:r>
              <a:rPr lang="en-US" u="sng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Answer</a:t>
            </a:r>
            <a:r>
              <a:rPr lang="en-US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:</a:t>
            </a:r>
            <a:r>
              <a:rPr lang="en-US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 There are not. Please plan and ensure your journals are timely posted by Day 9 at 2pm PT.</a:t>
            </a:r>
            <a:endParaRPr lang="en-US"/>
          </a:p>
          <a:p>
            <a:pPr>
              <a:spcBef>
                <a:spcPts val="0"/>
              </a:spcBef>
              <a:spcAft>
                <a:spcPts val="569"/>
              </a:spcAft>
            </a:pPr>
            <a:endParaRPr lang="en-US" sz="2844"/>
          </a:p>
          <a:p>
            <a:pPr>
              <a:spcBef>
                <a:spcPts val="1991"/>
              </a:spcBef>
              <a:spcAft>
                <a:spcPts val="284"/>
              </a:spcAft>
            </a:pPr>
            <a:endParaRPr lang="en-US" sz="2844"/>
          </a:p>
          <a:p>
            <a:pPr>
              <a:spcAft>
                <a:spcPts val="284"/>
              </a:spcAft>
            </a:pPr>
            <a:endParaRPr lang="en-US" sz="2844"/>
          </a:p>
        </p:txBody>
      </p:sp>
    </p:spTree>
    <p:extLst>
      <p:ext uri="{BB962C8B-B14F-4D97-AF65-F5344CB8AC3E}">
        <p14:creationId xmlns:p14="http://schemas.microsoft.com/office/powerpoint/2010/main" val="26702609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7045" y="466093"/>
            <a:ext cx="11658111" cy="1413369"/>
          </a:xfrm>
        </p:spPr>
        <p:txBody>
          <a:bodyPr lIns="130048" tIns="65024" rIns="130048" bIns="65024" anchor="b"/>
          <a:lstStyle/>
          <a:p>
            <a:r>
              <a:rPr lang="en-US">
                <a:latin typeface="Open Sans"/>
                <a:ea typeface="Open Sans"/>
                <a:cs typeface="Open Sans"/>
              </a:rPr>
              <a:t>Q: What happens if a transaction is approved and posts after a deadline?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7047" y="2391482"/>
            <a:ext cx="11798794" cy="3905889"/>
          </a:xfrm>
        </p:spPr>
        <p:txBody>
          <a:bodyPr lIns="130048" tIns="65024" rIns="130048" bIns="65024" anchor="t"/>
          <a:lstStyle/>
          <a:p>
            <a:pPr>
              <a:spcBef>
                <a:spcPts val="0"/>
              </a:spcBef>
              <a:spcAft>
                <a:spcPts val="569"/>
              </a:spcAft>
            </a:pPr>
            <a:r>
              <a:rPr lang="en-US" u="sng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Answer</a:t>
            </a:r>
            <a:r>
              <a:rPr lang="en-US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:</a:t>
            </a:r>
            <a:r>
              <a:rPr lang="en-US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 In most cases, that transaction will post to the next month and fiscal year '25.</a:t>
            </a:r>
            <a:endParaRPr lang="en-US"/>
          </a:p>
          <a:p>
            <a:pPr>
              <a:spcBef>
                <a:spcPts val="0"/>
              </a:spcBef>
              <a:spcAft>
                <a:spcPts val="569"/>
              </a:spcAft>
            </a:pPr>
            <a:endParaRPr lang="en-US"/>
          </a:p>
          <a:p>
            <a:pPr>
              <a:spcBef>
                <a:spcPts val="1991"/>
              </a:spcBef>
              <a:spcAft>
                <a:spcPts val="284"/>
              </a:spcAft>
            </a:pPr>
            <a:endParaRPr lang="en-US" sz="2844"/>
          </a:p>
          <a:p>
            <a:pPr>
              <a:spcAft>
                <a:spcPts val="284"/>
              </a:spcAft>
            </a:pPr>
            <a:endParaRPr lang="en-US" sz="2844"/>
          </a:p>
        </p:txBody>
      </p:sp>
    </p:spTree>
    <p:extLst>
      <p:ext uri="{BB962C8B-B14F-4D97-AF65-F5344CB8AC3E}">
        <p14:creationId xmlns:p14="http://schemas.microsoft.com/office/powerpoint/2010/main" val="27264418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7045" y="466093"/>
            <a:ext cx="11658111" cy="1413369"/>
          </a:xfrm>
        </p:spPr>
        <p:txBody>
          <a:bodyPr lIns="130048" tIns="65024" rIns="130048" bIns="65024" anchor="b"/>
          <a:lstStyle/>
          <a:p>
            <a:r>
              <a:rPr lang="en-US">
                <a:latin typeface="Open Sans"/>
                <a:ea typeface="Open Sans"/>
                <a:cs typeface="Open Sans"/>
              </a:rPr>
              <a:t>Q: Is there a Dean's Day?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7047" y="2391482"/>
            <a:ext cx="11798794" cy="3905889"/>
          </a:xfrm>
        </p:spPr>
        <p:txBody>
          <a:bodyPr lIns="130048" tIns="65024" rIns="130048" bIns="65024" anchor="t"/>
          <a:lstStyle/>
          <a:p>
            <a:pPr>
              <a:spcBef>
                <a:spcPts val="0"/>
              </a:spcBef>
              <a:spcAft>
                <a:spcPts val="569"/>
              </a:spcAft>
            </a:pPr>
            <a:r>
              <a:rPr lang="en-US" u="sng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Answer</a:t>
            </a:r>
            <a:r>
              <a:rPr lang="en-US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:</a:t>
            </a:r>
            <a:r>
              <a:rPr lang="en-US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 The concept of Dean's Day sunset with FAS. The most equivalent would be Day 6 to Day 9 to review and post journals if needed.</a:t>
            </a:r>
            <a:endParaRPr lang="en-US"/>
          </a:p>
          <a:p>
            <a:pPr>
              <a:spcBef>
                <a:spcPts val="0"/>
              </a:spcBef>
              <a:spcAft>
                <a:spcPts val="569"/>
              </a:spcAft>
            </a:pPr>
            <a:endParaRPr lang="en-US"/>
          </a:p>
          <a:p>
            <a:pPr>
              <a:spcBef>
                <a:spcPts val="1991"/>
              </a:spcBef>
              <a:spcAft>
                <a:spcPts val="284"/>
              </a:spcAft>
            </a:pPr>
            <a:endParaRPr lang="en-US" sz="2844"/>
          </a:p>
          <a:p>
            <a:pPr>
              <a:spcAft>
                <a:spcPts val="284"/>
              </a:spcAft>
            </a:pPr>
            <a:endParaRPr lang="en-US" sz="2844"/>
          </a:p>
        </p:txBody>
      </p:sp>
    </p:spTree>
    <p:extLst>
      <p:ext uri="{BB962C8B-B14F-4D97-AF65-F5344CB8AC3E}">
        <p14:creationId xmlns:p14="http://schemas.microsoft.com/office/powerpoint/2010/main" val="23528426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7045" y="466093"/>
            <a:ext cx="11658111" cy="1413369"/>
          </a:xfrm>
        </p:spPr>
        <p:txBody>
          <a:bodyPr lIns="130048" tIns="65024" rIns="130048" bIns="65024" anchor="b"/>
          <a:lstStyle/>
          <a:p>
            <a:r>
              <a:rPr lang="en-US">
                <a:latin typeface="Open Sans"/>
                <a:ea typeface="Open Sans"/>
                <a:cs typeface="Open Sans"/>
              </a:rPr>
              <a:t>Q: Day minus 1 is a Sunday, what does that mean for process?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7047" y="2391482"/>
            <a:ext cx="11798794" cy="3905889"/>
          </a:xfrm>
        </p:spPr>
        <p:txBody>
          <a:bodyPr lIns="130048" tIns="65024" rIns="130048" bIns="65024" anchor="t"/>
          <a:lstStyle/>
          <a:p>
            <a:pPr>
              <a:spcBef>
                <a:spcPts val="0"/>
              </a:spcBef>
              <a:spcAft>
                <a:spcPts val="569"/>
              </a:spcAft>
            </a:pPr>
            <a:r>
              <a:rPr lang="en-US" u="sng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Answer</a:t>
            </a:r>
            <a:r>
              <a:rPr lang="en-US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:</a:t>
            </a:r>
            <a:r>
              <a:rPr lang="en-US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 Correct, day minus 1 is Sunday June 30th. That means units can continue to transact until midnight on Sunday June 30th (except Accounting Adjustments that need to be approved by 2pm PT).</a:t>
            </a:r>
            <a:endParaRPr lang="en-US"/>
          </a:p>
          <a:p>
            <a:pPr>
              <a:spcBef>
                <a:spcPts val="0"/>
              </a:spcBef>
              <a:spcAft>
                <a:spcPts val="569"/>
              </a:spcAft>
            </a:pPr>
            <a:endParaRPr lang="en-US"/>
          </a:p>
          <a:p>
            <a:pPr>
              <a:spcBef>
                <a:spcPts val="1991"/>
              </a:spcBef>
              <a:spcAft>
                <a:spcPts val="284"/>
              </a:spcAft>
            </a:pPr>
            <a:endParaRPr lang="en-US" sz="2844"/>
          </a:p>
          <a:p>
            <a:pPr>
              <a:spcAft>
                <a:spcPts val="284"/>
              </a:spcAft>
            </a:pPr>
            <a:endParaRPr lang="en-US" sz="2844"/>
          </a:p>
        </p:txBody>
      </p:sp>
    </p:spTree>
    <p:extLst>
      <p:ext uri="{BB962C8B-B14F-4D97-AF65-F5344CB8AC3E}">
        <p14:creationId xmlns:p14="http://schemas.microsoft.com/office/powerpoint/2010/main" val="42358710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7045" y="466093"/>
            <a:ext cx="11658111" cy="1413369"/>
          </a:xfrm>
        </p:spPr>
        <p:txBody>
          <a:bodyPr lIns="130048" tIns="65024" rIns="130048" bIns="65024" anchor="b"/>
          <a:lstStyle/>
          <a:p>
            <a:r>
              <a:rPr lang="en-US">
                <a:latin typeface="Open Sans"/>
                <a:ea typeface="Open Sans"/>
                <a:cs typeface="Open Sans"/>
              </a:rPr>
              <a:t>Q: What if there's an error on a transaction that needs to post for FY24?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7047" y="2391482"/>
            <a:ext cx="11798794" cy="3905889"/>
          </a:xfrm>
        </p:spPr>
        <p:txBody>
          <a:bodyPr lIns="130048" tIns="65024" rIns="130048" bIns="65024" anchor="t"/>
          <a:lstStyle/>
          <a:p>
            <a:pPr>
              <a:spcBef>
                <a:spcPts val="0"/>
              </a:spcBef>
              <a:spcAft>
                <a:spcPts val="569"/>
              </a:spcAft>
            </a:pPr>
            <a:r>
              <a:rPr lang="en-US" u="sng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Answer</a:t>
            </a:r>
            <a:r>
              <a:rPr lang="en-US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:</a:t>
            </a:r>
            <a:r>
              <a:rPr lang="en-US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 We suggest pulling regular reports to catch errors and ensure your transactions are in for FY24.</a:t>
            </a:r>
            <a:endParaRPr lang="en-US"/>
          </a:p>
          <a:p>
            <a:pPr>
              <a:spcBef>
                <a:spcPts val="1991"/>
              </a:spcBef>
              <a:spcAft>
                <a:spcPts val="284"/>
              </a:spcAft>
            </a:pPr>
            <a:endParaRPr lang="en-US"/>
          </a:p>
          <a:p>
            <a:pPr>
              <a:spcAft>
                <a:spcPts val="284"/>
              </a:spcAft>
            </a:pPr>
            <a:endParaRPr lang="en-US" sz="2844"/>
          </a:p>
        </p:txBody>
      </p:sp>
    </p:spTree>
    <p:extLst>
      <p:ext uri="{BB962C8B-B14F-4D97-AF65-F5344CB8AC3E}">
        <p14:creationId xmlns:p14="http://schemas.microsoft.com/office/powerpoint/2010/main" val="444553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7045" y="466093"/>
            <a:ext cx="11658111" cy="1413369"/>
          </a:xfrm>
        </p:spPr>
        <p:txBody>
          <a:bodyPr lIns="130048" tIns="65024" rIns="130048" bIns="65024" anchor="b"/>
          <a:lstStyle/>
          <a:p>
            <a:r>
              <a:rPr lang="en-US">
                <a:latin typeface="Open Sans"/>
                <a:ea typeface="Open Sans"/>
                <a:cs typeface="Open Sans"/>
              </a:rPr>
              <a:t>First 5 Days – Same as Month-end Clo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7046" y="2214144"/>
            <a:ext cx="11887462" cy="3905889"/>
          </a:xfrm>
        </p:spPr>
        <p:txBody>
          <a:bodyPr lIns="130048" tIns="65024" rIns="130048" bIns="65024" anchor="t"/>
          <a:lstStyle/>
          <a:p>
            <a:pPr marL="487045" indent="-487045">
              <a:spcBef>
                <a:spcPts val="0"/>
              </a:spcBef>
              <a:spcAft>
                <a:spcPts val="569"/>
              </a:spcAft>
            </a:pPr>
            <a:r>
              <a:rPr lang="en-US" sz="280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Day minus 1 through Day 5:</a:t>
            </a:r>
            <a:endParaRPr lang="en-US" sz="2800" dirty="0">
              <a:latin typeface="Open Sans"/>
              <a:ea typeface="Open Sans"/>
              <a:cs typeface="Open Sans"/>
            </a:endParaRPr>
          </a:p>
          <a:p>
            <a:pPr marL="487045" indent="-487045">
              <a:spcBef>
                <a:spcPts val="0"/>
              </a:spcBef>
              <a:spcAft>
                <a:spcPts val="569"/>
              </a:spcAft>
            </a:pPr>
            <a:endParaRPr lang="en-US" sz="1422">
              <a:solidFill>
                <a:srgbClr val="4B2E83"/>
              </a:solidFill>
              <a:latin typeface="Open Sans"/>
              <a:ea typeface="Open Sans"/>
              <a:cs typeface="Open Sans"/>
            </a:endParaRPr>
          </a:p>
          <a:p>
            <a:pPr marL="792480" lvl="1" indent="-304800">
              <a:spcBef>
                <a:spcPts val="0"/>
              </a:spcBef>
              <a:spcAft>
                <a:spcPts val="1138"/>
              </a:spcAft>
              <a:buFont typeface="Courier New,monospace"/>
              <a:buChar char="o"/>
            </a:pP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ISD for the period must post by </a:t>
            </a:r>
            <a:r>
              <a:rPr lang="en-US" sz="2550" dirty="0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Sun, June 30th at midnight PT</a:t>
            </a: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.</a:t>
            </a:r>
          </a:p>
          <a:p>
            <a:pPr marL="792480" lvl="1" indent="-304800">
              <a:spcBef>
                <a:spcPts val="0"/>
              </a:spcBef>
              <a:spcAft>
                <a:spcPts val="1138"/>
              </a:spcAft>
              <a:buFont typeface="Courier New,monospace"/>
              <a:buChar char="o"/>
            </a:pP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Accounting Adjustments must be approved by </a:t>
            </a:r>
            <a:r>
              <a:rPr lang="en-US" sz="2550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Sun, June 30th at </a:t>
            </a:r>
            <a:r>
              <a:rPr lang="en-US" sz="2550" dirty="0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2pm PT</a:t>
            </a: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.</a:t>
            </a:r>
            <a:endParaRPr lang="en-US" sz="2550" dirty="0">
              <a:solidFill>
                <a:srgbClr val="4B2E83"/>
              </a:solidFill>
              <a:cs typeface="Open Sans"/>
            </a:endParaRPr>
          </a:p>
          <a:p>
            <a:pPr marL="792480" lvl="1" indent="-304800">
              <a:spcBef>
                <a:spcPts val="0"/>
              </a:spcBef>
              <a:spcAft>
                <a:spcPts val="1138"/>
              </a:spcAft>
              <a:buFont typeface="Courier New,monospace"/>
              <a:buChar char="o"/>
            </a:pP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Receiving must be completed by </a:t>
            </a:r>
            <a:r>
              <a:rPr lang="en-US" sz="2550" dirty="0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Sun, June 30th at midnight PT</a:t>
            </a: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.</a:t>
            </a:r>
            <a:endParaRPr lang="en-US" sz="2550" dirty="0"/>
          </a:p>
          <a:p>
            <a:pPr marL="792480" lvl="1" indent="-304800">
              <a:spcBef>
                <a:spcPts val="0"/>
              </a:spcBef>
              <a:spcAft>
                <a:spcPts val="1138"/>
              </a:spcAft>
              <a:buFont typeface="Courier New,monospace"/>
              <a:buChar char="o"/>
            </a:pP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Customer invoices must be approved by </a:t>
            </a:r>
            <a:r>
              <a:rPr lang="en-US" sz="2550" dirty="0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Mon, July 1st at 2pm PT</a:t>
            </a: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.</a:t>
            </a:r>
            <a:endParaRPr lang="en-US" sz="2550" dirty="0"/>
          </a:p>
          <a:p>
            <a:pPr marL="792480" lvl="1" indent="-304800">
              <a:spcBef>
                <a:spcPts val="0"/>
              </a:spcBef>
              <a:spcAft>
                <a:spcPts val="1138"/>
              </a:spcAft>
              <a:buFont typeface="Courier New,monospace"/>
              <a:buChar char="o"/>
            </a:pP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FY24 cash deposits must be claimed by </a:t>
            </a:r>
            <a:r>
              <a:rPr lang="en-US" sz="2550" dirty="0">
                <a:solidFill>
                  <a:srgbClr val="4B2E83"/>
                </a:solidFill>
                <a:highlight>
                  <a:srgbClr val="E7D3A2"/>
                </a:highlight>
                <a:latin typeface="Open Sans"/>
                <a:ea typeface="Open Sans"/>
                <a:cs typeface="Open Sans"/>
              </a:rPr>
              <a:t>Mon, July 1st at 2pm PT</a:t>
            </a:r>
            <a:r>
              <a:rPr lang="en-US" sz="2550" dirty="0">
                <a:solidFill>
                  <a:srgbClr val="4B2E83"/>
                </a:solidFill>
                <a:latin typeface="Open Sans"/>
                <a:ea typeface="Open Sans"/>
                <a:cs typeface="Open Sans"/>
              </a:rPr>
              <a:t>.</a:t>
            </a:r>
            <a:endParaRPr lang="en-US" sz="2550" dirty="0"/>
          </a:p>
        </p:txBody>
      </p:sp>
    </p:spTree>
    <p:extLst>
      <p:ext uri="{BB962C8B-B14F-4D97-AF65-F5344CB8AC3E}">
        <p14:creationId xmlns:p14="http://schemas.microsoft.com/office/powerpoint/2010/main" val="22646186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SE Accounting Forum Web Page – </a:t>
            </a:r>
            <a:br>
              <a:rPr lang="en-US" sz="5400" b="1" dirty="0"/>
            </a:br>
            <a:r>
              <a:rPr lang="en-US" sz="5400" b="1" dirty="0"/>
              <a:t>Decks &amp; Recordings</a:t>
            </a:r>
            <a:br>
              <a:rPr lang="en-US" sz="5400" b="1" dirty="0"/>
            </a:br>
            <a:r>
              <a:rPr lang="en-US" sz="4400" b="1" dirty="0">
                <a:hlinkClick r:id="rId2"/>
              </a:rPr>
              <a:t>https://finance.uw.edu/fr/node/87</a:t>
            </a:r>
            <a:br>
              <a:rPr lang="en-US" sz="5400" b="1" dirty="0"/>
            </a:br>
            <a:r>
              <a:rPr lang="en-US" sz="2800" b="1" dirty="0"/>
              <a:t>Finance&gt; Financial Reporting&gt; Shared Environment Accounting Forum</a:t>
            </a:r>
            <a:endParaRPr lang="en-US" sz="5400" b="1" dirty="0"/>
          </a:p>
        </p:txBody>
      </p:sp>
    </p:spTree>
    <p:extLst>
      <p:ext uri="{BB962C8B-B14F-4D97-AF65-F5344CB8AC3E}">
        <p14:creationId xmlns:p14="http://schemas.microsoft.com/office/powerpoint/2010/main" val="36005146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 dirty="0">
                <a:solidFill>
                  <a:srgbClr val="4B2E83"/>
                </a:solidFill>
                <a:latin typeface="Encode Sans Normal Black" charset="0"/>
              </a:rPr>
              <a:t>Discussion topics</a:t>
            </a:r>
            <a:endParaRPr lang="en-US" sz="3000" b="1" cap="all" dirty="0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5934651"/>
              </p:ext>
            </p:extLst>
          </p:nvPr>
        </p:nvGraphicFramePr>
        <p:xfrm>
          <a:off x="631602" y="1343453"/>
          <a:ext cx="11612880" cy="5017084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09537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1870418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7195930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  <a:gridCol w="2036995">
                  <a:extLst>
                    <a:ext uri="{9D8B030D-6E8A-4147-A177-3AD203B41FA5}">
                      <a16:colId xmlns:a16="http://schemas.microsoft.com/office/drawing/2014/main" val="1913697892"/>
                    </a:ext>
                  </a:extLst>
                </a:gridCol>
              </a:tblGrid>
              <a:tr h="11692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ead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180091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/>
                        <a:t>Year-End Close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PAA’s and 8 day close in FY25</a:t>
                      </a:r>
                    </a:p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Preview of the year end controller’s checklist </a:t>
                      </a:r>
                    </a:p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TC44 Operating Accrual is fully reversed!</a:t>
                      </a:r>
                    </a:p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Receipt accruals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Erick Winger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890265012"/>
                  </a:ext>
                </a:extLst>
              </a:tr>
              <a:tr h="85823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/>
                        <a:t>2</a:t>
                      </a:r>
                      <a:endParaRPr lang="en-US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Year-End Close</a:t>
                      </a:r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Carryover funds 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</a:rPr>
                        <a:t>Scott Coil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516535956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/>
                        <a:t>3</a:t>
                      </a:r>
                      <a:endParaRPr lang="en-US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ture Topics</a:t>
                      </a:r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Reconciliation/prioritization in prepping for YEC / Resource </a:t>
                      </a:r>
                      <a:r>
                        <a:rPr lang="en-US" sz="1900" b="0" kern="1200" cap="none" baseline="0" dirty="0" err="1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Worktags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YEC cutoff / approval reminders</a:t>
                      </a:r>
                    </a:p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Summer Ledger Bootcamp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75240204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7113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 dirty="0">
                <a:solidFill>
                  <a:srgbClr val="4B2E83"/>
                </a:solidFill>
                <a:latin typeface="Encode Sans Normal Black" charset="0"/>
              </a:rPr>
              <a:t>Future Discussion Topics</a:t>
            </a:r>
            <a:endParaRPr lang="en-US" sz="3000" b="1" cap="all" dirty="0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3741028"/>
              </p:ext>
            </p:extLst>
          </p:nvPr>
        </p:nvGraphicFramePr>
        <p:xfrm>
          <a:off x="532343" y="1057058"/>
          <a:ext cx="11680017" cy="3808521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12482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2118539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7113319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  <a:gridCol w="1935677">
                  <a:extLst>
                    <a:ext uri="{9D8B030D-6E8A-4147-A177-3AD203B41FA5}">
                      <a16:colId xmlns:a16="http://schemas.microsoft.com/office/drawing/2014/main" val="1913697892"/>
                    </a:ext>
                  </a:extLst>
                </a:gridCol>
              </a:tblGrid>
              <a:tr h="6081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entative Date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1069584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2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345745238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3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409391359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4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55407604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5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523719829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387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Year-End Close</a:t>
            </a:r>
          </a:p>
        </p:txBody>
      </p:sp>
    </p:spTree>
    <p:extLst>
      <p:ext uri="{BB962C8B-B14F-4D97-AF65-F5344CB8AC3E}">
        <p14:creationId xmlns:p14="http://schemas.microsoft.com/office/powerpoint/2010/main" val="4149375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2413A-FCAC-3777-3506-3719230D7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045FB-1DBA-9607-0071-F7AE710CA1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/>
              <a:t>PAA’s &amp;</a:t>
            </a:r>
            <a:r>
              <a:rPr lang="en-US" sz="3900" b="1" dirty="0"/>
              <a:t> Year End Clo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AE4938-F98C-5D97-4114-D7714693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38" y="1145224"/>
            <a:ext cx="12007551" cy="5516247"/>
          </a:xfrm>
        </p:spPr>
        <p:txBody>
          <a:bodyPr lIns="91440" tIns="45720" rIns="91440" bIns="45720" anchor="t"/>
          <a:lstStyle/>
          <a:p>
            <a:pPr marL="0" indent="0">
              <a:spcBef>
                <a:spcPts val="0"/>
              </a:spcBef>
              <a:buNone/>
            </a:pPr>
            <a:endParaRPr lang="en-US" sz="2800" dirty="0">
              <a:latin typeface="Aptos"/>
              <a:ea typeface="Calibri"/>
              <a:cs typeface="Calibri"/>
            </a:endParaRPr>
          </a:p>
          <a:p>
            <a:pPr marL="0" indent="-365760">
              <a:spcBef>
                <a:spcPts val="0"/>
              </a:spcBef>
            </a:pPr>
            <a:r>
              <a:rPr lang="en-US" sz="2800">
                <a:latin typeface="Aptos"/>
                <a:ea typeface="Calibri"/>
                <a:cs typeface="Calibri"/>
              </a:rPr>
              <a:t>Reversals, check cancels and PAA’s by the YEC deadline will hit the 2024 </a:t>
            </a:r>
            <a:r>
              <a:rPr lang="en-US" sz="2800" dirty="0">
                <a:latin typeface="Aptos"/>
                <a:ea typeface="Calibri"/>
                <a:cs typeface="Calibri"/>
              </a:rPr>
              <a:t>fiscal year</a:t>
            </a:r>
            <a:endParaRPr lang="en-US" sz="2550">
              <a:latin typeface="Aptos"/>
              <a:ea typeface="Calibri"/>
              <a:cs typeface="Calibri"/>
            </a:endParaRPr>
          </a:p>
          <a:p>
            <a:pPr marL="426747" lvl="1">
              <a:spcBef>
                <a:spcPts val="0"/>
              </a:spcBef>
            </a:pPr>
            <a:r>
              <a:rPr lang="en-US" sz="2373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rmed deadline Day 8 </a:t>
            </a:r>
            <a:r>
              <a:rPr lang="en-US" sz="240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</a:t>
            </a:r>
            <a:r>
              <a:rPr lang="en-US" sz="2373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July 11 by 5pm</a:t>
            </a:r>
          </a:p>
          <a:p>
            <a:pPr marL="426747" lvl="1">
              <a:spcBef>
                <a:spcPts val="0"/>
              </a:spcBef>
            </a:pPr>
            <a:r>
              <a:rPr lang="en-US" sz="2373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means they must</a:t>
            </a:r>
            <a:r>
              <a:rPr lang="en-US" sz="2373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e approved by the </a:t>
            </a:r>
            <a:r>
              <a:rPr lang="en-US" sz="2373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nding manager(s) </a:t>
            </a:r>
            <a:r>
              <a:rPr lang="en-US" sz="2373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 </a:t>
            </a:r>
            <a:r>
              <a:rPr lang="en-US" sz="2373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time</a:t>
            </a:r>
            <a:endParaRPr lang="en-US" sz="2373" dirty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800" dirty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A’s not </a:t>
            </a:r>
            <a:r>
              <a:rPr lang="en-US" sz="2800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roved </a:t>
            </a:r>
            <a:r>
              <a:rPr lang="en-US" sz="280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 5pm on </a:t>
            </a:r>
            <a:r>
              <a:rPr lang="en-US" sz="2800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y 8 </a:t>
            </a:r>
            <a:r>
              <a:rPr lang="en-US" sz="280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en-US" sz="2800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uly 11 </a:t>
            </a:r>
            <a:r>
              <a:rPr lang="en-US" sz="280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ll transact hit 2025 fiscal year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800" dirty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hlinkClick r:id="rId3"/>
              </a:rPr>
              <a:t>Year-end Close &amp; Reporting | Financial Reporting (uw.edu)</a:t>
            </a:r>
            <a:endParaRPr lang="en-US" sz="2800" dirty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6384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2413A-FCAC-3777-3506-3719230D7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045FB-1DBA-9607-0071-F7AE710CA1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Year End Controller’s Checkli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AE4938-F98C-5D97-4114-D7714693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38" y="1145224"/>
            <a:ext cx="12007551" cy="5516247"/>
          </a:xfrm>
        </p:spPr>
        <p:txBody>
          <a:bodyPr lIns="91440" tIns="45720" rIns="91440" bIns="45720" anchor="t"/>
          <a:lstStyle/>
          <a:p>
            <a:pPr>
              <a:spcBef>
                <a:spcPts val="0"/>
              </a:spcBef>
            </a:pPr>
            <a:r>
              <a:rPr lang="en-US" sz="2800" dirty="0">
                <a:latin typeface="Aptos"/>
                <a:ea typeface="Calibri"/>
                <a:cs typeface="Calibri"/>
              </a:rPr>
              <a:t>Purpose: Document confirmation (reasonable assurance) from business leaders the completion of year end activities that we rely on for accurate and complete financial information</a:t>
            </a:r>
          </a:p>
          <a:p>
            <a:pPr marL="0" indent="0">
              <a:spcBef>
                <a:spcPts val="0"/>
              </a:spcBef>
              <a:buNone/>
            </a:pPr>
            <a:endParaRPr lang="en-US" sz="2800" dirty="0">
              <a:latin typeface="Aptos"/>
              <a:ea typeface="Calibri"/>
              <a:cs typeface="Calibri"/>
            </a:endParaRPr>
          </a:p>
          <a:p>
            <a:pPr marL="0" indent="-365760">
              <a:spcBef>
                <a:spcPts val="0"/>
              </a:spcBef>
            </a:pPr>
            <a:r>
              <a:rPr lang="en-US" sz="2800" dirty="0">
                <a:latin typeface="Aptos"/>
                <a:ea typeface="Calibri"/>
                <a:cs typeface="Calibri"/>
              </a:rPr>
              <a:t>Categories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/>
                <a:ea typeface="Calibri"/>
                <a:cs typeface="Calibri"/>
              </a:rPr>
              <a:t>Payments &amp; Disbursements / Receipts and Collections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/>
                <a:ea typeface="Calibri"/>
                <a:cs typeface="Calibri"/>
              </a:rPr>
              <a:t>Revenues / Expenses / Payroll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/>
                <a:ea typeface="Calibri"/>
                <a:cs typeface="Calibri"/>
              </a:rPr>
              <a:t>Revolving Funds and Field Advances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/>
                <a:ea typeface="Calibri"/>
                <a:cs typeface="Calibri"/>
              </a:rPr>
              <a:t>Gifts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/>
                <a:ea typeface="Calibri"/>
                <a:cs typeface="Calibri"/>
              </a:rPr>
              <a:t>Balance Sheet Account Reconciliations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/>
                <a:ea typeface="Calibri"/>
                <a:cs typeface="Calibri"/>
              </a:rPr>
              <a:t>Compliance (fraud, deficit, etc.)</a:t>
            </a:r>
            <a:endParaRPr lang="en-US" sz="2160" dirty="0">
              <a:latin typeface="Aptos"/>
              <a:ea typeface="Calibri"/>
              <a:cs typeface="Calibri"/>
            </a:endParaRPr>
          </a:p>
          <a:p>
            <a:pPr marL="426747" lvl="1" indent="-365760">
              <a:spcBef>
                <a:spcPts val="0"/>
              </a:spcBef>
            </a:pPr>
            <a:endParaRPr lang="en-US" sz="2160" dirty="0">
              <a:latin typeface="Aptos"/>
              <a:ea typeface="Calibri"/>
              <a:cs typeface="Calibri"/>
            </a:endParaRPr>
          </a:p>
          <a:p>
            <a:pPr marL="0" indent="-365760">
              <a:spcBef>
                <a:spcPts val="0"/>
              </a:spcBef>
            </a:pPr>
            <a:r>
              <a:rPr lang="en-US" sz="2800" dirty="0">
                <a:latin typeface="Aptos"/>
                <a:cs typeface="Calibri"/>
              </a:rPr>
              <a:t>Time Frame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/>
                <a:cs typeface="Calibri"/>
              </a:rPr>
              <a:t>Preview mid-June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/>
                <a:cs typeface="Calibri"/>
              </a:rPr>
              <a:t>Due date TBD (expect July)</a:t>
            </a:r>
          </a:p>
        </p:txBody>
      </p:sp>
    </p:spTree>
    <p:extLst>
      <p:ext uri="{BB962C8B-B14F-4D97-AF65-F5344CB8AC3E}">
        <p14:creationId xmlns:p14="http://schemas.microsoft.com/office/powerpoint/2010/main" val="14825156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2413A-FCAC-3777-3506-3719230D7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045FB-1DBA-9607-0071-F7AE710CA1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Year End Controller’s Checkli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AE4938-F98C-5D97-4114-D7714693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38" y="1145224"/>
            <a:ext cx="12007551" cy="5516247"/>
          </a:xfrm>
        </p:spPr>
        <p:txBody>
          <a:bodyPr lIns="91440" tIns="45720" rIns="91440" bIns="45720" anchor="t"/>
          <a:lstStyle/>
          <a:p>
            <a:pPr>
              <a:spcBef>
                <a:spcPts val="0"/>
              </a:spcBef>
            </a:pPr>
            <a:r>
              <a:rPr lang="en-US" sz="2800" dirty="0">
                <a:latin typeface="Aptos"/>
                <a:ea typeface="Calibri"/>
                <a:cs typeface="Calibri"/>
              </a:rPr>
              <a:t>Workday process changes necessitate changes in nature of checklist items (departments no longer record cash receipts via TC30)</a:t>
            </a:r>
          </a:p>
          <a:p>
            <a:pPr>
              <a:spcBef>
                <a:spcPts val="0"/>
              </a:spcBef>
            </a:pPr>
            <a:endParaRPr lang="en-US" sz="2800" dirty="0">
              <a:latin typeface="Aptos"/>
              <a:ea typeface="Calibri"/>
              <a:cs typeface="Calibri"/>
            </a:endParaRPr>
          </a:p>
          <a:p>
            <a:pPr>
              <a:spcBef>
                <a:spcPts val="0"/>
              </a:spcBef>
            </a:pPr>
            <a:r>
              <a:rPr lang="en-US" sz="2800" dirty="0">
                <a:latin typeface="Aptos"/>
                <a:ea typeface="Calibri"/>
                <a:cs typeface="Calibri"/>
              </a:rPr>
              <a:t>Example</a:t>
            </a:r>
          </a:p>
          <a:p>
            <a:pPr lvl="1">
              <a:spcBef>
                <a:spcPts val="0"/>
              </a:spcBef>
            </a:pPr>
            <a:r>
              <a:rPr lang="en-US" sz="2373" dirty="0">
                <a:latin typeface="Aptos"/>
                <a:ea typeface="Calibri"/>
                <a:cs typeface="Calibri"/>
              </a:rPr>
              <a:t>FY23 and prior</a:t>
            </a:r>
          </a:p>
          <a:p>
            <a:pPr marL="975421" lvl="2" indent="0">
              <a:spcBef>
                <a:spcPts val="0"/>
              </a:spcBef>
              <a:buNone/>
            </a:pPr>
            <a:r>
              <a:rPr lang="en-US" sz="2160" dirty="0">
                <a:latin typeface="Aptos"/>
                <a:ea typeface="Calibri"/>
                <a:cs typeface="Calibri"/>
              </a:rPr>
              <a:t>All cash or checks that have been received prior to June 30</a:t>
            </a:r>
            <a:r>
              <a:rPr lang="en-US" sz="2160" baseline="30000" dirty="0">
                <a:latin typeface="Aptos"/>
                <a:ea typeface="Calibri"/>
                <a:cs typeface="Calibri"/>
              </a:rPr>
              <a:t>th</a:t>
            </a:r>
            <a:r>
              <a:rPr lang="en-US" sz="2160" dirty="0">
                <a:latin typeface="Aptos"/>
                <a:ea typeface="Calibri"/>
                <a:cs typeface="Calibri"/>
              </a:rPr>
              <a:t> have been deposited and </a:t>
            </a:r>
            <a:r>
              <a:rPr lang="en-US" sz="2160" b="1" u="sng" dirty="0">
                <a:latin typeface="Aptos"/>
                <a:ea typeface="Calibri"/>
                <a:cs typeface="Calibri"/>
              </a:rPr>
              <a:t>recorded</a:t>
            </a:r>
            <a:r>
              <a:rPr lang="en-US" sz="2160" dirty="0">
                <a:latin typeface="Aptos"/>
                <a:ea typeface="Calibri"/>
                <a:cs typeface="Calibri"/>
              </a:rPr>
              <a:t> in the financial system by June 30</a:t>
            </a:r>
            <a:r>
              <a:rPr lang="en-US" sz="2160" baseline="30000" dirty="0">
                <a:latin typeface="Aptos"/>
                <a:ea typeface="Calibri"/>
                <a:cs typeface="Calibri"/>
              </a:rPr>
              <a:t>th</a:t>
            </a:r>
          </a:p>
          <a:p>
            <a:pPr marL="975421" lvl="2" indent="0">
              <a:spcBef>
                <a:spcPts val="0"/>
              </a:spcBef>
              <a:buNone/>
            </a:pPr>
            <a:endParaRPr lang="en-US" sz="2160" dirty="0">
              <a:latin typeface="Aptos"/>
              <a:ea typeface="Calibri"/>
              <a:cs typeface="Calibri"/>
            </a:endParaRPr>
          </a:p>
          <a:p>
            <a:pPr lvl="1">
              <a:spcBef>
                <a:spcPts val="0"/>
              </a:spcBef>
            </a:pPr>
            <a:r>
              <a:rPr lang="en-US" sz="2373" dirty="0">
                <a:latin typeface="Aptos"/>
                <a:ea typeface="Calibri"/>
                <a:cs typeface="Calibri"/>
              </a:rPr>
              <a:t>FY24</a:t>
            </a:r>
          </a:p>
          <a:p>
            <a:pPr marL="975421" lvl="2" indent="0">
              <a:spcBef>
                <a:spcPts val="0"/>
              </a:spcBef>
              <a:buNone/>
            </a:pPr>
            <a:r>
              <a:rPr lang="en-US" sz="2160" dirty="0">
                <a:latin typeface="Aptos"/>
                <a:ea typeface="Calibri"/>
                <a:cs typeface="Calibri"/>
              </a:rPr>
              <a:t>All cash or checks that have been received prior to June 30</a:t>
            </a:r>
            <a:r>
              <a:rPr lang="en-US" sz="2160" baseline="30000" dirty="0">
                <a:latin typeface="Aptos"/>
                <a:ea typeface="Calibri"/>
                <a:cs typeface="Calibri"/>
              </a:rPr>
              <a:t>th</a:t>
            </a:r>
            <a:r>
              <a:rPr lang="en-US" sz="2160" dirty="0">
                <a:latin typeface="Aptos"/>
                <a:ea typeface="Calibri"/>
                <a:cs typeface="Calibri"/>
              </a:rPr>
              <a:t> have been deposited prior to June 30</a:t>
            </a:r>
            <a:r>
              <a:rPr lang="en-US" sz="2160" baseline="30000" dirty="0">
                <a:latin typeface="Aptos"/>
                <a:ea typeface="Calibri"/>
                <a:cs typeface="Calibri"/>
              </a:rPr>
              <a:t>th</a:t>
            </a:r>
            <a:endParaRPr lang="en-US" sz="2160" dirty="0">
              <a:latin typeface="Aptos"/>
              <a:ea typeface="Calibri"/>
              <a:cs typeface="Calibri"/>
            </a:endParaRPr>
          </a:p>
          <a:p>
            <a:pPr marL="975421" lvl="2" indent="0">
              <a:spcBef>
                <a:spcPts val="0"/>
              </a:spcBef>
              <a:buNone/>
            </a:pPr>
            <a:endParaRPr lang="en-US" sz="2800" dirty="0">
              <a:latin typeface="Aptos"/>
              <a:ea typeface="Calibri"/>
              <a:cs typeface="Calibri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es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but immaterial  (Please provide an estimate of the amount in question)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and material  (Please provide an explanation…include description of the issue, total amount in question, and potential impact)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/A (Please state how this does not apply to your unit)</a:t>
            </a:r>
          </a:p>
        </p:txBody>
      </p:sp>
    </p:spTree>
    <p:extLst>
      <p:ext uri="{BB962C8B-B14F-4D97-AF65-F5344CB8AC3E}">
        <p14:creationId xmlns:p14="http://schemas.microsoft.com/office/powerpoint/2010/main" val="3191802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2413A-FCAC-3777-3506-3719230D7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045FB-1DBA-9607-0071-F7AE710CA1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Receipt Accrua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AE4938-F98C-5D97-4114-D7714693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38" y="1145224"/>
            <a:ext cx="12007551" cy="5516247"/>
          </a:xfrm>
        </p:spPr>
        <p:txBody>
          <a:bodyPr lIns="91440" tIns="45720" rIns="91440" bIns="45720" anchor="t"/>
          <a:lstStyle/>
          <a:p>
            <a:pPr>
              <a:spcBef>
                <a:spcPts val="0"/>
              </a:spcBef>
            </a:pPr>
            <a:r>
              <a:rPr lang="en-US" sz="2800" dirty="0">
                <a:latin typeface="Aptos"/>
                <a:ea typeface="Calibri"/>
                <a:cs typeface="Calibri"/>
              </a:rPr>
              <a:t>Impact on Income Statement</a:t>
            </a:r>
            <a:endParaRPr lang="en-US" sz="1519" dirty="0">
              <a:latin typeface="Aptos"/>
              <a:ea typeface="Calibri"/>
              <a:cs typeface="Calibri"/>
            </a:endParaRP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cognizes expense in the period of receipt of goods and services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roximately $18M received monthly FY24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vers only purchase order process</a:t>
            </a:r>
          </a:p>
          <a:p>
            <a:pPr marL="0" indent="-365760">
              <a:spcBef>
                <a:spcPts val="0"/>
              </a:spcBef>
            </a:pPr>
            <a:endParaRPr lang="en-US" sz="2800" dirty="0">
              <a:latin typeface="Aptos"/>
              <a:ea typeface="Calibri"/>
              <a:cs typeface="Calibri"/>
            </a:endParaRPr>
          </a:p>
          <a:p>
            <a:pPr marL="0" indent="-365760">
              <a:spcBef>
                <a:spcPts val="0"/>
              </a:spcBef>
            </a:pPr>
            <a:r>
              <a:rPr lang="en-US" sz="2800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BD: Plan for accrued spend not covered by receipt accruals </a:t>
            </a:r>
          </a:p>
          <a:p>
            <a:pPr marL="426747" lvl="1" indent="-365760">
              <a:spcBef>
                <a:spcPts val="0"/>
              </a:spcBef>
            </a:pPr>
            <a:r>
              <a:rPr lang="en-US" sz="2373" dirty="0"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n PO </a:t>
            </a:r>
          </a:p>
        </p:txBody>
      </p:sp>
    </p:spTree>
    <p:extLst>
      <p:ext uri="{BB962C8B-B14F-4D97-AF65-F5344CB8AC3E}">
        <p14:creationId xmlns:p14="http://schemas.microsoft.com/office/powerpoint/2010/main" val="5869174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2413A-FCAC-3777-3506-3719230D7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045FB-1DBA-9607-0071-F7AE710CA1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900" b="1" dirty="0"/>
              <a:t>Carryover Fund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AE4938-F98C-5D97-4114-D7714693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38" y="1145224"/>
            <a:ext cx="12007551" cy="5516247"/>
          </a:xfrm>
        </p:spPr>
        <p:txBody>
          <a:bodyPr lIns="91440" tIns="45720" rIns="91440" bIns="45720" anchor="t"/>
          <a:lstStyle/>
          <a:p>
            <a:pPr marL="0" indent="0">
              <a:spcBef>
                <a:spcPts val="0"/>
              </a:spcBef>
              <a:buNone/>
            </a:pPr>
            <a:endParaRPr lang="en-US" sz="2800" dirty="0">
              <a:latin typeface="Aptos"/>
              <a:ea typeface="Calibri"/>
              <a:cs typeface="Calibri"/>
            </a:endParaRPr>
          </a:p>
          <a:p>
            <a:pPr marL="0" indent="-365760">
              <a:spcBef>
                <a:spcPts val="0"/>
              </a:spcBef>
            </a:pPr>
            <a:r>
              <a:rPr lang="en-US" sz="2800" dirty="0">
                <a:latin typeface="Aptos"/>
                <a:ea typeface="Calibri"/>
                <a:cs typeface="Calibri"/>
              </a:rPr>
              <a:t>Carryover = Net Position (FY24 ending balance = FY25 beginning balance)</a:t>
            </a:r>
          </a:p>
          <a:p>
            <a:pPr marL="0" indent="-365760">
              <a:spcBef>
                <a:spcPts val="1200"/>
              </a:spcBef>
            </a:pPr>
            <a:r>
              <a:rPr lang="en-US" sz="2800" dirty="0">
                <a:latin typeface="Aptos"/>
                <a:ea typeface="Calibri" panose="020F0502020204030204" pitchFamily="34" charset="0"/>
                <a:cs typeface="Calibri"/>
              </a:rPr>
              <a:t>Workday will not replicate “close to” budget numbers from FAS, therefore, action may be required to backfill deficits </a:t>
            </a:r>
            <a:r>
              <a:rPr lang="en-US" sz="2800">
                <a:latin typeface="Aptos"/>
                <a:ea typeface="Calibri" panose="020F0502020204030204" pitchFamily="34" charset="0"/>
                <a:cs typeface="Calibri"/>
              </a:rPr>
              <a:t>(</a:t>
            </a:r>
            <a:r>
              <a:rPr lang="en-US" sz="2800" dirty="0">
                <a:latin typeface="Aptos"/>
                <a:ea typeface="Calibri" panose="020F0502020204030204" pitchFamily="34" charset="0"/>
                <a:cs typeface="Calibri"/>
              </a:rPr>
              <a:t>expense &gt; revenue) or recapture surpluses (revenue &gt; expenses)</a:t>
            </a:r>
          </a:p>
          <a:p>
            <a:pPr marL="426747" lvl="1" indent="-365760">
              <a:spcBef>
                <a:spcPts val="1200"/>
              </a:spcBef>
            </a:pPr>
            <a:r>
              <a:rPr lang="en-US" sz="2373" i="1" u="sng" dirty="0">
                <a:latin typeface="Aptos"/>
                <a:ea typeface="Calibri" panose="020F0502020204030204" pitchFamily="34" charset="0"/>
                <a:cs typeface="Calibri"/>
              </a:rPr>
              <a:t>Example 1</a:t>
            </a:r>
            <a:r>
              <a:rPr lang="en-US" sz="2373" i="1" dirty="0">
                <a:latin typeface="Aptos"/>
                <a:ea typeface="Calibri" panose="020F0502020204030204" pitchFamily="34" charset="0"/>
                <a:cs typeface="Calibri"/>
              </a:rPr>
              <a:t>: a </a:t>
            </a:r>
            <a:r>
              <a:rPr lang="en-US" sz="2373" i="1">
                <a:latin typeface="Aptos"/>
                <a:ea typeface="Calibri" panose="020F0502020204030204" pitchFamily="34" charset="0"/>
                <a:cs typeface="Calibri"/>
              </a:rPr>
              <a:t>CC </a:t>
            </a:r>
            <a:r>
              <a:rPr lang="en-US" sz="2373" i="1" dirty="0">
                <a:latin typeface="Aptos"/>
                <a:ea typeface="Calibri" panose="020F0502020204030204" pitchFamily="34" charset="0"/>
                <a:cs typeface="Calibri"/>
              </a:rPr>
              <a:t>worktag has expenses &gt; </a:t>
            </a:r>
            <a:r>
              <a:rPr lang="en-US" sz="2373" i="1">
                <a:latin typeface="Aptos"/>
                <a:ea typeface="Calibri" panose="020F0502020204030204" pitchFamily="34" charset="0"/>
                <a:cs typeface="Calibri"/>
              </a:rPr>
              <a:t>revenues </a:t>
            </a:r>
            <a:r>
              <a:rPr lang="en-US" sz="2373" i="1" dirty="0">
                <a:latin typeface="Aptos"/>
                <a:ea typeface="Calibri" panose="020F0502020204030204" pitchFamily="34" charset="0"/>
                <a:cs typeface="Calibri"/>
              </a:rPr>
              <a:t>through May close and expects this deficit to persist through June 30.  To clear the deficit, process a Funding Transfer Journal Entry to post revenue sufficient to </a:t>
            </a:r>
            <a:r>
              <a:rPr lang="en-US" sz="2373" i="1">
                <a:latin typeface="Aptos"/>
                <a:ea typeface="Calibri" panose="020F0502020204030204" pitchFamily="34" charset="0"/>
                <a:cs typeface="Calibri"/>
              </a:rPr>
              <a:t>equal </a:t>
            </a:r>
            <a:r>
              <a:rPr lang="en-US" sz="2373" i="1" dirty="0">
                <a:latin typeface="Aptos"/>
                <a:ea typeface="Calibri" panose="020F0502020204030204" pitchFamily="34" charset="0"/>
                <a:cs typeface="Calibri"/>
              </a:rPr>
              <a:t>expenses, for a $0 FY24 ending net position balance.  This will become a $0 FY25 beginning net position balance </a:t>
            </a:r>
            <a:r>
              <a:rPr lang="en-US" sz="2373" i="1">
                <a:latin typeface="Aptos"/>
                <a:ea typeface="Calibri" panose="020F0502020204030204" pitchFamily="34" charset="0"/>
                <a:cs typeface="Calibri"/>
              </a:rPr>
              <a:t>as of </a:t>
            </a:r>
            <a:r>
              <a:rPr lang="en-US" sz="2373" i="1" dirty="0">
                <a:latin typeface="Aptos"/>
                <a:ea typeface="Calibri" panose="020F0502020204030204" pitchFamily="34" charset="0"/>
                <a:cs typeface="Calibri"/>
              </a:rPr>
              <a:t>July 1.</a:t>
            </a:r>
            <a:endParaRPr lang="en-US" sz="1946" i="1" dirty="0"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26747" lvl="1" indent="-365760">
              <a:spcBef>
                <a:spcPts val="1200"/>
              </a:spcBef>
            </a:pPr>
            <a:r>
              <a:rPr lang="en-US" sz="2373" i="1" u="sng" dirty="0">
                <a:latin typeface="Aptos"/>
                <a:ea typeface="Calibri" panose="020F0502020204030204" pitchFamily="34" charset="0"/>
                <a:cs typeface="Calibri"/>
              </a:rPr>
              <a:t>Example 2</a:t>
            </a:r>
            <a:r>
              <a:rPr lang="en-US" sz="2373" i="1" dirty="0">
                <a:latin typeface="Aptos"/>
                <a:ea typeface="Calibri" panose="020F0502020204030204" pitchFamily="34" charset="0"/>
                <a:cs typeface="Calibri"/>
              </a:rPr>
              <a:t>: a position funded “centrally” was vacant unexpectedly in June leading to a surplus (revenue &gt; expenses) in a CC, RS, PG combination</a:t>
            </a:r>
            <a:r>
              <a:rPr lang="en-US" sz="2373" i="1">
                <a:latin typeface="Aptos"/>
                <a:ea typeface="Calibri" panose="020F0502020204030204" pitchFamily="34" charset="0"/>
                <a:cs typeface="Calibri"/>
              </a:rPr>
              <a:t>.  Process </a:t>
            </a:r>
            <a:r>
              <a:rPr lang="en-US" sz="2373" i="1" dirty="0">
                <a:latin typeface="Aptos"/>
                <a:ea typeface="Calibri" panose="020F0502020204030204" pitchFamily="34" charset="0"/>
                <a:cs typeface="Calibri"/>
              </a:rPr>
              <a:t>a Funding Transfer Journal Entry to “pull back” or “recapture” revenue not expended in FY24.  Otherwise, that surplus will automatically post as beginning FY25 net position as of July 1.</a:t>
            </a:r>
          </a:p>
        </p:txBody>
      </p:sp>
    </p:spTree>
    <p:extLst>
      <p:ext uri="{BB962C8B-B14F-4D97-AF65-F5344CB8AC3E}">
        <p14:creationId xmlns:p14="http://schemas.microsoft.com/office/powerpoint/2010/main" val="4615222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5" y="917323"/>
            <a:ext cx="12120211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Reference documents –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endParaRPr lang="en-US" sz="2800" b="0" dirty="0">
              <a:solidFill>
                <a:schemeClr val="tx2"/>
              </a:solidFill>
              <a:latin typeface="Encode Sans Normal Black"/>
            </a:endParaRPr>
          </a:p>
        </p:txBody>
      </p:sp>
    </p:spTree>
    <p:extLst>
      <p:ext uri="{BB962C8B-B14F-4D97-AF65-F5344CB8AC3E}">
        <p14:creationId xmlns:p14="http://schemas.microsoft.com/office/powerpoint/2010/main" val="4202424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_Custom Design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2_Custom Design">
  <a:themeElements>
    <a:clrScheme name="4b2e83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9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AF4ED3B3-46E5-44EB-BA1C-13D68E2EAEF5}"/>
    </a:ext>
  </a:extLst>
</a:theme>
</file>

<file path=ppt/theme/theme13.xml><?xml version="1.0" encoding="utf-8"?>
<a:theme xmlns:a="http://schemas.openxmlformats.org/drawingml/2006/main" name="3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20_Custom Design">
  <a:themeElements>
    <a:clrScheme name="Custom 2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4AD53"/>
      </a:hlink>
      <a:folHlink>
        <a:srgbClr val="7272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3.xml><?xml version="1.0" encoding="utf-8"?>
<a:theme xmlns:a="http://schemas.openxmlformats.org/drawingml/2006/main" name="UWFT_Purple_Theme">
  <a:themeElements>
    <a:clrScheme name="UWFT Color Theme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92EF4E4C-2DFC-4279-89D6-6125E3B7D4FD}"/>
    </a:ext>
  </a:extLst>
</a:theme>
</file>

<file path=ppt/theme/theme4.xml><?xml version="1.0" encoding="utf-8"?>
<a:theme xmlns:a="http://schemas.openxmlformats.org/drawingml/2006/main" name="8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hange Impact Assessment Deliverable Kick Off_v2.potx  -  Read-Only" id="{BF8822CC-A693-432F-A260-1B81BAB156C6}" vid="{3DA52278-C50B-497B-99FD-017F36DB303D}"/>
    </a:ext>
  </a:extLst>
</a:theme>
</file>

<file path=ppt/theme/theme5.xml><?xml version="1.0" encoding="utf-8"?>
<a:theme xmlns:a="http://schemas.openxmlformats.org/drawingml/2006/main" name="19_Custom Design">
  <a:themeElements>
    <a:clrScheme name="Custom 2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4AD53"/>
      </a:hlink>
      <a:folHlink>
        <a:srgbClr val="7272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AF4ED3B3-46E5-44EB-BA1C-13D68E2EAEF5}"/>
    </a:ext>
  </a:extLst>
</a:theme>
</file>

<file path=ppt/theme/theme7.xml><?xml version="1.0" encoding="utf-8"?>
<a:theme xmlns:a="http://schemas.openxmlformats.org/drawingml/2006/main" name="White_Custom Design UWFT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8.xml><?xml version="1.0" encoding="utf-8"?>
<a:theme xmlns:a="http://schemas.openxmlformats.org/drawingml/2006/main" name="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Custom Design">
  <a:themeElements>
    <a:clrScheme name="UW Brand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c58eb10-3e4a-46ae-adb6-5cb727f0709d">
      <UserInfo>
        <DisplayName>Mary Esther</DisplayName>
        <AccountId>171</AccountId>
        <AccountType/>
      </UserInfo>
    </SharedWithUsers>
    <lcf76f155ced4ddcb4097134ff3c332f xmlns="2ddf6f93-9cf0-4fb3-acb7-352a87fed0bf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E5E4E48944904EA29CA8A60EB3DD4A" ma:contentTypeVersion="13" ma:contentTypeDescription="Create a new document." ma:contentTypeScope="" ma:versionID="4f0f2dbd5de7a0f18cac2cf6e2ecc56b">
  <xsd:schema xmlns:xsd="http://www.w3.org/2001/XMLSchema" xmlns:xs="http://www.w3.org/2001/XMLSchema" xmlns:p="http://schemas.microsoft.com/office/2006/metadata/properties" xmlns:ns2="6c58eb10-3e4a-46ae-adb6-5cb727f0709d" xmlns:ns3="2ddf6f93-9cf0-4fb3-acb7-352a87fed0bf" targetNamespace="http://schemas.microsoft.com/office/2006/metadata/properties" ma:root="true" ma:fieldsID="8436285ae3b2a65ed5da63e2d578f516" ns2:_="" ns3:_="">
    <xsd:import namespace="6c58eb10-3e4a-46ae-adb6-5cb727f0709d"/>
    <xsd:import namespace="2ddf6f93-9cf0-4fb3-acb7-352a87fed0b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58eb10-3e4a-46ae-adb6-5cb727f0709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df6f93-9cf0-4fb3-acb7-352a87fed0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20148b9-20a4-48a0-acba-ba52d68a3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27C088-0680-4C99-AF9D-5C6550C1D7C7}">
  <ds:schemaRefs>
    <ds:schemaRef ds:uri="http://schemas.microsoft.com/office/2006/documentManagement/types"/>
    <ds:schemaRef ds:uri="http://purl.org/dc/terms/"/>
    <ds:schemaRef ds:uri="http://purl.org/dc/dcmitype/"/>
    <ds:schemaRef ds:uri="http://schemas.microsoft.com/office/2006/metadata/properties"/>
    <ds:schemaRef ds:uri="http://purl.org/dc/elements/1.1/"/>
    <ds:schemaRef ds:uri="2ddf6f93-9cf0-4fb3-acb7-352a87fed0bf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6c58eb10-3e4a-46ae-adb6-5cb727f0709d"/>
  </ds:schemaRefs>
</ds:datastoreItem>
</file>

<file path=customXml/itemProps2.xml><?xml version="1.0" encoding="utf-8"?>
<ds:datastoreItem xmlns:ds="http://schemas.openxmlformats.org/officeDocument/2006/customXml" ds:itemID="{727E2350-9A08-4842-BB4C-B52FA54039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58eb10-3e4a-46ae-adb6-5cb727f0709d"/>
    <ds:schemaRef ds:uri="2ddf6f93-9cf0-4fb3-acb7-352a87fed0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3E4E443-78F3-4111-999F-68B3E8F21E4F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6b6dd5b-f02f-441a-99a0-162ac5060bd2}" enabled="0" method="" siteId="{f6b6dd5b-f02f-441a-99a0-162ac5060b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61</Words>
  <Application>Microsoft Office PowerPoint</Application>
  <PresentationFormat>Custom</PresentationFormat>
  <Paragraphs>175</Paragraphs>
  <Slides>20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53" baseType="lpstr">
      <vt:lpstr>Aptos</vt:lpstr>
      <vt:lpstr>Arial</vt:lpstr>
      <vt:lpstr>Arial Black</vt:lpstr>
      <vt:lpstr>Calibri</vt:lpstr>
      <vt:lpstr>Calibri Light</vt:lpstr>
      <vt:lpstr>Courier New,monospace</vt:lpstr>
      <vt:lpstr>Encode Sans Black</vt:lpstr>
      <vt:lpstr>Encode Sans Normal</vt:lpstr>
      <vt:lpstr>Encode Sans Normal Black</vt:lpstr>
      <vt:lpstr>Lucida Grande</vt:lpstr>
      <vt:lpstr>Nexa Black</vt:lpstr>
      <vt:lpstr>Open Sans</vt:lpstr>
      <vt:lpstr>Open Sans Light</vt:lpstr>
      <vt:lpstr>Segoe UI</vt:lpstr>
      <vt:lpstr>Symbol</vt:lpstr>
      <vt:lpstr>Uni Sans</vt:lpstr>
      <vt:lpstr>Uni Sans Book</vt:lpstr>
      <vt:lpstr>Uni Sans Regular</vt:lpstr>
      <vt:lpstr>1_UWFT_White</vt:lpstr>
      <vt:lpstr>1_Custom Design</vt:lpstr>
      <vt:lpstr>UWFT_Purple_Theme</vt:lpstr>
      <vt:lpstr>8_UWFT_White_Theme</vt:lpstr>
      <vt:lpstr>19_Custom Design</vt:lpstr>
      <vt:lpstr>UWFT_White_Theme</vt:lpstr>
      <vt:lpstr>White_Custom Design UWFT</vt:lpstr>
      <vt:lpstr>UWFT_White</vt:lpstr>
      <vt:lpstr>Custom Design</vt:lpstr>
      <vt:lpstr>1_Custom Design</vt:lpstr>
      <vt:lpstr>2_Custom Design</vt:lpstr>
      <vt:lpstr>9_UWFT_White_Theme</vt:lpstr>
      <vt:lpstr>3_Custom Design</vt:lpstr>
      <vt:lpstr>20_Custom Design</vt:lpstr>
      <vt:lpstr>think-cell Slide</vt:lpstr>
      <vt:lpstr>Shared Environment accounting forum</vt:lpstr>
      <vt:lpstr>PowerPoint Presentation</vt:lpstr>
      <vt:lpstr>Year-End Clo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ence documents – </vt:lpstr>
      <vt:lpstr>Year-End Close Resources and Q&amp;A</vt:lpstr>
      <vt:lpstr>Resources</vt:lpstr>
      <vt:lpstr>Q: Are the year-end close deadlines flexible?</vt:lpstr>
      <vt:lpstr>Q: Are there any mechanisms after Day 9 to post journals?</vt:lpstr>
      <vt:lpstr>Q: What happens if a transaction is approved and posts after a deadline?</vt:lpstr>
      <vt:lpstr>Q: Is there a Dean's Day?</vt:lpstr>
      <vt:lpstr>Q: Day minus 1 is a Sunday, what does that mean for process?</vt:lpstr>
      <vt:lpstr>Q: What if there's an error on a transaction that needs to post for FY24?</vt:lpstr>
      <vt:lpstr>First 5 Days – Same as Month-end Close</vt:lpstr>
      <vt:lpstr>SE Accounting Forum Web Page –  Decks &amp; Recordings https://finance.uw.edu/fr/node/87 Finance&gt; Financial Reporting&gt; Shared Environment Accounting Foru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ng Model Master Plan/Architect Phases</dc:title>
  <dc:creator/>
  <cp:keywords/>
  <cp:lastModifiedBy/>
  <cp:revision>1383</cp:revision>
  <dcterms:modified xsi:type="dcterms:W3CDTF">2024-05-28T17:2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StatusInfo">
    <vt:lpwstr>None</vt:lpwstr>
  </property>
  <property fmtid="{D5CDD505-2E9C-101B-9397-08002B2CF9AE}" pid="4" name="ProgMgtType">
    <vt:lpwstr>Meeting Materials</vt:lpwstr>
  </property>
  <property fmtid="{D5CDD505-2E9C-101B-9397-08002B2CF9AE}" pid="5" name="Meeting Material">
    <vt:lpwstr>Background Information</vt:lpwstr>
  </property>
  <property fmtid="{D5CDD505-2E9C-101B-9397-08002B2CF9AE}" pid="6" name="Scheduled Meeting Date">
    <vt:filetime>2019-02-06T19:03:37Z</vt:filetime>
  </property>
  <property fmtid="{D5CDD505-2E9C-101B-9397-08002B2CF9AE}" pid="7" name="MeetingCat">
    <vt:lpwstr>Workshop</vt:lpwstr>
  </property>
  <property fmtid="{D5CDD505-2E9C-101B-9397-08002B2CF9AE}" pid="8" name="AuthorIds_UIVersion_1024">
    <vt:lpwstr>69</vt:lpwstr>
  </property>
  <property fmtid="{D5CDD505-2E9C-101B-9397-08002B2CF9AE}" pid="9" name="General Topics">
    <vt:lpwstr>NONE</vt:lpwstr>
  </property>
  <property fmtid="{D5CDD505-2E9C-101B-9397-08002B2CF9AE}" pid="10" name="E2E Process">
    <vt:lpwstr>NONE</vt:lpwstr>
  </property>
  <property fmtid="{D5CDD505-2E9C-101B-9397-08002B2CF9AE}" pid="11" name="Info Type">
    <vt:lpwstr>NONE</vt:lpwstr>
  </property>
  <property fmtid="{D5CDD505-2E9C-101B-9397-08002B2CF9AE}" pid="12" name="Workstream">
    <vt:lpwstr>Operating/Support Model</vt:lpwstr>
  </property>
  <property fmtid="{D5CDD505-2E9C-101B-9397-08002B2CF9AE}" pid="13" name="Effort">
    <vt:lpwstr>130;#Op Model Working Group|1728cf52-e909-4b0f-bd23-5265ebd3f340</vt:lpwstr>
  </property>
  <property fmtid="{D5CDD505-2E9C-101B-9397-08002B2CF9AE}" pid="14" name="End to End Process">
    <vt:lpwstr/>
  </property>
  <property fmtid="{D5CDD505-2E9C-101B-9397-08002B2CF9AE}" pid="15" name="Key Doc">
    <vt:lpwstr>No</vt:lpwstr>
  </property>
  <property fmtid="{D5CDD505-2E9C-101B-9397-08002B2CF9AE}" pid="16" name="X-Functional">
    <vt:lpwstr>No</vt:lpwstr>
  </property>
  <property fmtid="{D5CDD505-2E9C-101B-9397-08002B2CF9AE}" pid="17" name="AuthorIds_UIVersion_11264">
    <vt:lpwstr>29</vt:lpwstr>
  </property>
  <property fmtid="{D5CDD505-2E9C-101B-9397-08002B2CF9AE}" pid="18" name="Doc Type">
    <vt:lpwstr>38;#Meeting Material|5ca797d6-ec80-41a8-bbd5-b5d7ff016b8a</vt:lpwstr>
  </property>
  <property fmtid="{D5CDD505-2E9C-101B-9397-08002B2CF9AE}" pid="19" name="AuthorIds_UIVersion_13312">
    <vt:lpwstr>69</vt:lpwstr>
  </property>
  <property fmtid="{D5CDD505-2E9C-101B-9397-08002B2CF9AE}" pid="20" name="FT Help Flag">
    <vt:lpwstr/>
  </property>
  <property fmtid="{D5CDD505-2E9C-101B-9397-08002B2CF9AE}" pid="21" name="Type of Document">
    <vt:lpwstr>455;#Template|ab09379f-8e9c-4109-ac8e-967692de8f42</vt:lpwstr>
  </property>
  <property fmtid="{D5CDD505-2E9C-101B-9397-08002B2CF9AE}" pid="22" name="Process Areas">
    <vt:lpwstr/>
  </property>
  <property fmtid="{D5CDD505-2E9C-101B-9397-08002B2CF9AE}" pid="23" name="OCM PIllars">
    <vt:lpwstr/>
  </property>
  <property fmtid="{D5CDD505-2E9C-101B-9397-08002B2CF9AE}" pid="24" name="IT Pillars">
    <vt:lpwstr/>
  </property>
  <property fmtid="{D5CDD505-2E9C-101B-9397-08002B2CF9AE}" pid="25" name="Move">
    <vt:lpwstr>UWFT Documents</vt:lpwstr>
  </property>
  <property fmtid="{D5CDD505-2E9C-101B-9397-08002B2CF9AE}" pid="26" name="n259a89570034573aee561765ba8e8fd">
    <vt:lpwstr>Op Model Working Group|1728cf52-e909-4b0f-bd23-5265ebd3f340</vt:lpwstr>
  </property>
  <property fmtid="{D5CDD505-2E9C-101B-9397-08002B2CF9AE}" pid="27" name="c1c28741c3ce488a89a9527edba98201">
    <vt:lpwstr/>
  </property>
  <property fmtid="{D5CDD505-2E9C-101B-9397-08002B2CF9AE}" pid="28" name="k9c4bf066cb5458da15ef6f4eaf30b30">
    <vt:lpwstr/>
  </property>
  <property fmtid="{D5CDD505-2E9C-101B-9397-08002B2CF9AE}" pid="29" name="a8521ba342074cdb909d922726f92453">
    <vt:lpwstr>Meeting Material|5ca797d6-ec80-41a8-bbd5-b5d7ff016b8a</vt:lpwstr>
  </property>
  <property fmtid="{D5CDD505-2E9C-101B-9397-08002B2CF9AE}" pid="30" name="SB Deliverables">
    <vt:lpwstr>583;#TBD Effort|ac059e7d-4f3a-4f3a-aae6-1959af6dadf3</vt:lpwstr>
  </property>
  <property fmtid="{D5CDD505-2E9C-101B-9397-08002B2CF9AE}" pid="31" name="e6e320f5c2ab4532bc0affd47f90b31c">
    <vt:lpwstr/>
  </property>
  <property fmtid="{D5CDD505-2E9C-101B-9397-08002B2CF9AE}" pid="32" name="PM_x0020_Topics">
    <vt:lpwstr/>
  </property>
  <property fmtid="{D5CDD505-2E9C-101B-9397-08002B2CF9AE}" pid="33" name="PM Topics">
    <vt:lpwstr/>
  </property>
  <property fmtid="{D5CDD505-2E9C-101B-9397-08002B2CF9AE}" pid="34" name="DocumentLink">
    <vt:lpwstr>https://uwnetid.sharepoint.com/sites/UWFTTeam//sites/UWFTTeam/Sandbox Documents/Op Model Shared Services Docs/Slide Decks Op Model Shared Services/Material Master Op Model Shared Services_PlanArchitect.pptx</vt:lpwstr>
  </property>
  <property fmtid="{D5CDD505-2E9C-101B-9397-08002B2CF9AE}" pid="35" name="SandBoxDocumentsUrl">
    <vt:lpwstr>https://uwnetid.sharepoint.com/sites/UWFTTeam/_layouts/15/wrkstat.aspx?List=9a6372f2-1c1b-4a2c-afb2-3bd48b102e88&amp;WorkflowInstanceName=d74b6768-3874-4890-96d3-1a38e71ff486, Set URL</vt:lpwstr>
  </property>
  <property fmtid="{D5CDD505-2E9C-101B-9397-08002B2CF9AE}" pid="36" name="h9d20ee9cd914b71a0d5343b7a0aee19">
    <vt:lpwstr>Template|ab09379f-8e9c-4109-ac8e-967692de8f42</vt:lpwstr>
  </property>
  <property fmtid="{D5CDD505-2E9C-101B-9397-08002B2CF9AE}" pid="37" name="d81b5cf1e51943db95f66400bc834c31">
    <vt:lpwstr/>
  </property>
  <property fmtid="{D5CDD505-2E9C-101B-9397-08002B2CF9AE}" pid="38" name="caa3166a4ef44d52a884ec95dadc7085">
    <vt:lpwstr/>
  </property>
  <property fmtid="{D5CDD505-2E9C-101B-9397-08002B2CF9AE}" pid="39" name="Type SB">
    <vt:lpwstr>627;#_TBD Type|81f31b21-3e0f-4e81-bd21-3459148e0219</vt:lpwstr>
  </property>
  <property fmtid="{D5CDD505-2E9C-101B-9397-08002B2CF9AE}" pid="40" name="_docset_NoMedatataSyncRequired">
    <vt:lpwstr>False</vt:lpwstr>
  </property>
  <property fmtid="{D5CDD505-2E9C-101B-9397-08002B2CF9AE}" pid="41" name="Status SB">
    <vt:lpwstr>NA</vt:lpwstr>
  </property>
  <property fmtid="{D5CDD505-2E9C-101B-9397-08002B2CF9AE}" pid="42" name="Stage - SB">
    <vt:lpwstr>Configure and Prototype</vt:lpwstr>
  </property>
  <property fmtid="{D5CDD505-2E9C-101B-9397-08002B2CF9AE}" pid="43" name="g8ecfd6069cd4448a46f82c4ec933d65">
    <vt:lpwstr>_TBD Type|81f31b21-3e0f-4e81-bd21-3459148e0219</vt:lpwstr>
  </property>
  <property fmtid="{D5CDD505-2E9C-101B-9397-08002B2CF9AE}" pid="44" name="h5e7189ca4ac4979a0394616daf355b0">
    <vt:lpwstr>TBD Effort|ac059e7d-4f3a-4f3a-aae6-1959af6dadf3</vt:lpwstr>
  </property>
  <property fmtid="{D5CDD505-2E9C-101B-9397-08002B2CF9AE}" pid="45" name="Process Areas L2">
    <vt:lpwstr/>
  </property>
  <property fmtid="{D5CDD505-2E9C-101B-9397-08002B2CF9AE}" pid="46" name="DocumentSetDescription">
    <vt:lpwstr/>
  </property>
  <property fmtid="{D5CDD505-2E9C-101B-9397-08002B2CF9AE}" pid="47" name="xd_ProgID">
    <vt:lpwstr/>
  </property>
  <property fmtid="{D5CDD505-2E9C-101B-9397-08002B2CF9AE}" pid="48" name="ComplianceAssetId">
    <vt:lpwstr/>
  </property>
  <property fmtid="{D5CDD505-2E9C-101B-9397-08002B2CF9AE}" pid="49" name="TemplateUrl">
    <vt:lpwstr/>
  </property>
  <property fmtid="{D5CDD505-2E9C-101B-9397-08002B2CF9AE}" pid="50" name="xd_Signature">
    <vt:bool>false</vt:bool>
  </property>
  <property fmtid="{D5CDD505-2E9C-101B-9397-08002B2CF9AE}" pid="51" name="MSIP_Label_ea60d57e-af5b-4752-ac57-3e4f28ca11dc_Enabled">
    <vt:lpwstr>true</vt:lpwstr>
  </property>
  <property fmtid="{D5CDD505-2E9C-101B-9397-08002B2CF9AE}" pid="52" name="MSIP_Label_ea60d57e-af5b-4752-ac57-3e4f28ca11dc_SetDate">
    <vt:lpwstr>2021-06-02T16:38:29Z</vt:lpwstr>
  </property>
  <property fmtid="{D5CDD505-2E9C-101B-9397-08002B2CF9AE}" pid="53" name="MSIP_Label_ea60d57e-af5b-4752-ac57-3e4f28ca11dc_Method">
    <vt:lpwstr>Standard</vt:lpwstr>
  </property>
  <property fmtid="{D5CDD505-2E9C-101B-9397-08002B2CF9AE}" pid="54" name="MSIP_Label_ea60d57e-af5b-4752-ac57-3e4f28ca11dc_Name">
    <vt:lpwstr>ea60d57e-af5b-4752-ac57-3e4f28ca11dc</vt:lpwstr>
  </property>
  <property fmtid="{D5CDD505-2E9C-101B-9397-08002B2CF9AE}" pid="55" name="MSIP_Label_ea60d57e-af5b-4752-ac57-3e4f28ca11dc_SiteId">
    <vt:lpwstr>36da45f1-dd2c-4d1f-af13-5abe46b99921</vt:lpwstr>
  </property>
  <property fmtid="{D5CDD505-2E9C-101B-9397-08002B2CF9AE}" pid="56" name="MSIP_Label_ea60d57e-af5b-4752-ac57-3e4f28ca11dc_ActionId">
    <vt:lpwstr>bba6b171-c4d7-4ece-8313-ea277101de26</vt:lpwstr>
  </property>
  <property fmtid="{D5CDD505-2E9C-101B-9397-08002B2CF9AE}" pid="57" name="MSIP_Label_ea60d57e-af5b-4752-ac57-3e4f28ca11dc_ContentBits">
    <vt:lpwstr>0</vt:lpwstr>
  </property>
  <property fmtid="{D5CDD505-2E9C-101B-9397-08002B2CF9AE}" pid="58" name="Process Areas - UWFT">
    <vt:lpwstr>5;#_NA Not Applicable|da71a9cd-6e60-49f6-8dde-ddeb91baa0aa</vt:lpwstr>
  </property>
  <property fmtid="{D5CDD505-2E9C-101B-9397-08002B2CF9AE}" pid="59" name="Doc Type - UWFT">
    <vt:lpwstr>3;#Organizing/Monitoring Work in Progress|c40c95eb-337c-4daa-8d2e-8e12d1a00b16</vt:lpwstr>
  </property>
  <property fmtid="{D5CDD505-2E9C-101B-9397-08002B2CF9AE}" pid="60" name="MediaServiceImageTags">
    <vt:lpwstr/>
  </property>
  <property fmtid="{D5CDD505-2E9C-101B-9397-08002B2CF9AE}" pid="61" name="Deliverables">
    <vt:lpwstr>593;#Op Model Effort|c89a1adc-edf5-4c45-9973-4de29aa4cbc4</vt:lpwstr>
  </property>
  <property fmtid="{D5CDD505-2E9C-101B-9397-08002B2CF9AE}" pid="62" name="Deliverable Type">
    <vt:lpwstr>NA</vt:lpwstr>
  </property>
  <property fmtid="{D5CDD505-2E9C-101B-9397-08002B2CF9AE}" pid="63" name="SharedWithUsers">
    <vt:lpwstr/>
  </property>
  <property fmtid="{D5CDD505-2E9C-101B-9397-08002B2CF9AE}" pid="64" name="lcf76f155ced4ddcb4097134ff3c332f">
    <vt:lpwstr/>
  </property>
  <property fmtid="{D5CDD505-2E9C-101B-9397-08002B2CF9AE}" pid="65" name="m20dcd23bfb146678cfadc0f8b530117">
    <vt:lpwstr/>
  </property>
  <property fmtid="{D5CDD505-2E9C-101B-9397-08002B2CF9AE}" pid="66" name="cfda4c2e6eaa4b919c52782db5a3950d">
    <vt:lpwstr/>
  </property>
  <property fmtid="{D5CDD505-2E9C-101B-9397-08002B2CF9AE}" pid="67" name="jfa7385944014aa794a01674ea6d4a75">
    <vt:lpwstr/>
  </property>
  <property fmtid="{D5CDD505-2E9C-101B-9397-08002B2CF9AE}" pid="68" name="_ExtendedDescription">
    <vt:lpwstr/>
  </property>
  <property fmtid="{D5CDD505-2E9C-101B-9397-08002B2CF9AE}" pid="69" name="Topic - UWFT">
    <vt:lpwstr>6;#Op Model Effort|c89a1adc-edf5-4c45-9973-4de29aa4cbc4</vt:lpwstr>
  </property>
  <property fmtid="{D5CDD505-2E9C-101B-9397-08002B2CF9AE}" pid="70" name="f1d40a61100d4fd78c055bcbbc959a60">
    <vt:lpwstr>_NA Not Applicable|da71a9cd-6e60-49f6-8dde-ddeb91baa0aa</vt:lpwstr>
  </property>
  <property fmtid="{D5CDD505-2E9C-101B-9397-08002B2CF9AE}" pid="71" name="e0554abe769746e69c042ffe99e604b4">
    <vt:lpwstr>Op Model Effort|c89a1adc-edf5-4c45-9973-4de29aa4cbc4</vt:lpwstr>
  </property>
  <property fmtid="{D5CDD505-2E9C-101B-9397-08002B2CF9AE}" pid="72" name="h8618d58416d42168e7ab0429ee6aab7">
    <vt:lpwstr>Organizing/Monitoring Work in Progress|c40c95eb-337c-4daa-8d2e-8e12d1a00b16</vt:lpwstr>
  </property>
  <property fmtid="{D5CDD505-2E9C-101B-9397-08002B2CF9AE}" pid="73" name="_dlc_DocIdItemGuid">
    <vt:lpwstr>68e3dbfa-d383-48c7-8e00-ded23ed5205c</vt:lpwstr>
  </property>
  <property fmtid="{D5CDD505-2E9C-101B-9397-08002B2CF9AE}" pid="74" name="ContentTypeId">
    <vt:lpwstr>0x01010090E5E4E48944904EA29CA8A60EB3DD4A</vt:lpwstr>
  </property>
</Properties>
</file>